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7096" r:id="rId6"/>
    <p:sldId id="2147477097" r:id="rId7"/>
    <p:sldId id="2147477098" r:id="rId8"/>
    <p:sldId id="2147477099" r:id="rId9"/>
    <p:sldId id="2147477100" r:id="rId10"/>
    <p:sldId id="2147477101" r:id="rId11"/>
    <p:sldId id="2147477102" r:id="rId12"/>
    <p:sldId id="2147477103" r:id="rId13"/>
    <p:sldId id="2147477104" r:id="rId14"/>
    <p:sldId id="2147477105" r:id="rId15"/>
    <p:sldId id="2147477106" r:id="rId16"/>
    <p:sldId id="2147477107" r:id="rId17"/>
    <p:sldId id="2147477108" r:id="rId18"/>
    <p:sldId id="2147477109" r:id="rId19"/>
    <p:sldId id="2147477110" r:id="rId20"/>
    <p:sldId id="2147477111" r:id="rId21"/>
    <p:sldId id="2147477112" r:id="rId22"/>
    <p:sldId id="2147477113" r:id="rId23"/>
    <p:sldId id="2147477114" r:id="rId24"/>
    <p:sldId id="2147477115" r:id="rId25"/>
    <p:sldId id="2147477116" r:id="rId26"/>
    <p:sldId id="2147477117" r:id="rId27"/>
    <p:sldId id="2147477118" r:id="rId28"/>
    <p:sldId id="2147477119" r:id="rId29"/>
    <p:sldId id="2147477120" r:id="rId30"/>
    <p:sldId id="2147477121" r:id="rId31"/>
    <p:sldId id="2147477122" r:id="rId32"/>
    <p:sldId id="2147477123" r:id="rId33"/>
    <p:sldId id="2147477124" r:id="rId34"/>
    <p:sldId id="2147477125" r:id="rId35"/>
    <p:sldId id="2147477126" r:id="rId36"/>
    <p:sldId id="2147477127" r:id="rId37"/>
    <p:sldId id="2147477128" r:id="rId38"/>
    <p:sldId id="2147477129" r:id="rId39"/>
    <p:sldId id="2147477130" r:id="rId40"/>
    <p:sldId id="2147477131" r:id="rId41"/>
    <p:sldId id="2147477132" r:id="rId42"/>
    <p:sldId id="2147477133" r:id="rId43"/>
    <p:sldId id="2147477134" r:id="rId44"/>
    <p:sldId id="2147477135" r:id="rId45"/>
    <p:sldId id="2147477136" r:id="rId46"/>
    <p:sldId id="2147477137" r:id="rId47"/>
    <p:sldId id="2147477138" r:id="rId48"/>
    <p:sldId id="2147477139" r:id="rId49"/>
    <p:sldId id="2147477140" r:id="rId50"/>
    <p:sldId id="2147477141" r:id="rId51"/>
    <p:sldId id="2147477142" r:id="rId52"/>
    <p:sldId id="2147477143" r:id="rId53"/>
    <p:sldId id="2147477144" r:id="rId54"/>
    <p:sldId id="2147477145" r:id="rId55"/>
    <p:sldId id="2147477146" r:id="rId56"/>
    <p:sldId id="2147477147" r:id="rId57"/>
    <p:sldId id="2147477148" r:id="rId58"/>
    <p:sldId id="2147477149" r:id="rId59"/>
    <p:sldId id="2147477150" r:id="rId60"/>
    <p:sldId id="2147477151" r:id="rId61"/>
    <p:sldId id="2147477152" r:id="rId62"/>
    <p:sldId id="2147477153" r:id="rId63"/>
    <p:sldId id="2147477154" r:id="rId64"/>
    <p:sldId id="2147477155" r:id="rId65"/>
    <p:sldId id="2147477156" r:id="rId66"/>
    <p:sldId id="2147477157" r:id="rId67"/>
    <p:sldId id="2147477158" r:id="rId68"/>
    <p:sldId id="2147477159" r:id="rId69"/>
    <p:sldId id="2147477160" r:id="rId70"/>
    <p:sldId id="2147477161" r:id="rId71"/>
    <p:sldId id="2147477162" r:id="rId72"/>
    <p:sldId id="2147477163" r:id="rId73"/>
    <p:sldId id="2147477164" r:id="rId74"/>
    <p:sldId id="2147477165" r:id="rId75"/>
    <p:sldId id="2147477166" r:id="rId76"/>
    <p:sldId id="2147477167" r:id="rId77"/>
    <p:sldId id="2147477168" r:id="rId78"/>
    <p:sldId id="2147477169" r:id="rId79"/>
    <p:sldId id="2147477170" r:id="rId80"/>
    <p:sldId id="2147477171" r:id="rId81"/>
    <p:sldId id="2147477172" r:id="rId82"/>
    <p:sldId id="2147477173" r:id="rId83"/>
    <p:sldId id="2147477174" r:id="rId84"/>
    <p:sldId id="2147477175" r:id="rId85"/>
    <p:sldId id="2147477176" r:id="rId86"/>
    <p:sldId id="2147477177" r:id="rId87"/>
    <p:sldId id="2147477178" r:id="rId88"/>
    <p:sldId id="2147477179" r:id="rId89"/>
    <p:sldId id="2147477180" r:id="rId90"/>
    <p:sldId id="2147477181" r:id="rId91"/>
    <p:sldId id="2147477182" r:id="rId92"/>
    <p:sldId id="2147477183" r:id="rId93"/>
    <p:sldId id="2147477184" r:id="rId94"/>
    <p:sldId id="2147477185" r:id="rId95"/>
    <p:sldId id="2147477186" r:id="rId96"/>
    <p:sldId id="2147477187" r:id="rId97"/>
    <p:sldId id="2147477188" r:id="rId98"/>
    <p:sldId id="2147477189" r:id="rId99"/>
    <p:sldId id="2147477190" r:id="rId100"/>
    <p:sldId id="2147477191" r:id="rId101"/>
    <p:sldId id="2147477192" r:id="rId102"/>
    <p:sldId id="2147477193" r:id="rId103"/>
    <p:sldId id="2147477194" r:id="rId104"/>
    <p:sldId id="2147477195" r:id="rId105"/>
    <p:sldId id="2147477196" r:id="rId106"/>
    <p:sldId id="2147477197" r:id="rId107"/>
    <p:sldId id="2147477198" r:id="rId108"/>
    <p:sldId id="2147477199" r:id="rId109"/>
    <p:sldId id="2147477200" r:id="rId110"/>
    <p:sldId id="2147477201" r:id="rId111"/>
    <p:sldId id="2147477202" r:id="rId112"/>
    <p:sldId id="2147477203" r:id="rId113"/>
    <p:sldId id="2147477204" r:id="rId114"/>
    <p:sldId id="2147477205" r:id="rId115"/>
    <p:sldId id="2147477206" r:id="rId116"/>
    <p:sldId id="2147477207" r:id="rId117"/>
    <p:sldId id="2147477208" r:id="rId118"/>
    <p:sldId id="2147477209" r:id="rId119"/>
    <p:sldId id="2147477210" r:id="rId120"/>
    <p:sldId id="2147477211" r:id="rId121"/>
    <p:sldId id="2147477212" r:id="rId122"/>
    <p:sldId id="2147477213" r:id="rId123"/>
    <p:sldId id="2147477214" r:id="rId124"/>
    <p:sldId id="2147477215" r:id="rId125"/>
    <p:sldId id="2147477216" r:id="rId126"/>
    <p:sldId id="2147477217" r:id="rId127"/>
    <p:sldId id="2147477218" r:id="rId128"/>
    <p:sldId id="2147477219" r:id="rId129"/>
    <p:sldId id="2147477220" r:id="rId130"/>
    <p:sldId id="2147477221" r:id="rId131"/>
    <p:sldId id="2147477222" r:id="rId132"/>
    <p:sldId id="2147477223" r:id="rId133"/>
    <p:sldId id="2147477224" r:id="rId134"/>
    <p:sldId id="2147477225" r:id="rId135"/>
    <p:sldId id="2147477226" r:id="rId136"/>
    <p:sldId id="2147477227" r:id="rId137"/>
    <p:sldId id="2147477228" r:id="rId138"/>
    <p:sldId id="2147477229" r:id="rId139"/>
    <p:sldId id="2147477230" r:id="rId140"/>
    <p:sldId id="2147477231" r:id="rId141"/>
    <p:sldId id="2147477232" r:id="rId142"/>
    <p:sldId id="2147477233" r:id="rId143"/>
    <p:sldId id="2147477234" r:id="rId144"/>
    <p:sldId id="2147477235" r:id="rId145"/>
    <p:sldId id="2147477236" r:id="rId146"/>
    <p:sldId id="2147477237" r:id="rId147"/>
    <p:sldId id="2147477238" r:id="rId148"/>
    <p:sldId id="2147477239"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BAF0B915-0611-431D-B03D-D84715A6CAB5}">
          <p14:sldIdLst>
            <p14:sldId id="2147477096"/>
            <p14:sldId id="2147477097"/>
            <p14:sldId id="2147477098"/>
            <p14:sldId id="2147477099"/>
          </p14:sldIdLst>
        </p14:section>
        <p14:section name="Brand Sourcing Analysis" id="{EA8693BA-0F04-4971-8289-5E60D91393CD}">
          <p14:sldIdLst>
            <p14:sldId id="2147477100"/>
            <p14:sldId id="2147477101"/>
            <p14:sldId id="2147477102"/>
            <p14:sldId id="2147477103"/>
            <p14:sldId id="2147477104"/>
            <p14:sldId id="2147477105"/>
            <p14:sldId id="2147477106"/>
            <p14:sldId id="2147477107"/>
            <p14:sldId id="2147477108"/>
            <p14:sldId id="2147477109"/>
            <p14:sldId id="2147477110"/>
            <p14:sldId id="2147477111"/>
            <p14:sldId id="2147477112"/>
            <p14:sldId id="2147477113"/>
            <p14:sldId id="2147477114"/>
            <p14:sldId id="2147477115"/>
            <p14:sldId id="2147477116"/>
          </p14:sldIdLst>
        </p14:section>
        <p14:section name="Size Elasticity" id="{3276B2CF-1B2E-44C2-BBC9-EE2CE40CD0F6}">
          <p14:sldIdLst>
            <p14:sldId id="2147477117"/>
            <p14:sldId id="2147477118"/>
            <p14:sldId id="2147477119"/>
            <p14:sldId id="2147477120"/>
            <p14:sldId id="2147477121"/>
          </p14:sldIdLst>
        </p14:section>
        <p14:section name="PE, Revenue Responses, Sourcing by product" id="{D9C023C6-EC18-4A81-819F-C36F51041342}">
          <p14:sldIdLst>
            <p14:sldId id="2147477122"/>
            <p14:sldId id="2147477123"/>
            <p14:sldId id="2147477124"/>
            <p14:sldId id="2147477125"/>
            <p14:sldId id="2147477126"/>
            <p14:sldId id="2147477127"/>
            <p14:sldId id="2147477128"/>
            <p14:sldId id="2147477129"/>
            <p14:sldId id="2147477130"/>
            <p14:sldId id="2147477131"/>
            <p14:sldId id="2147477132"/>
            <p14:sldId id="2147477133"/>
            <p14:sldId id="2147477134"/>
            <p14:sldId id="2147477135"/>
            <p14:sldId id="2147477136"/>
            <p14:sldId id="2147477137"/>
            <p14:sldId id="2147477138"/>
            <p14:sldId id="2147477139"/>
            <p14:sldId id="2147477140"/>
            <p14:sldId id="2147477141"/>
            <p14:sldId id="2147477142"/>
            <p14:sldId id="2147477143"/>
            <p14:sldId id="2147477144"/>
            <p14:sldId id="2147477145"/>
            <p14:sldId id="2147477146"/>
            <p14:sldId id="2147477147"/>
            <p14:sldId id="2147477148"/>
            <p14:sldId id="2147477149"/>
            <p14:sldId id="2147477150"/>
            <p14:sldId id="2147477151"/>
            <p14:sldId id="2147477152"/>
            <p14:sldId id="2147477153"/>
            <p14:sldId id="2147477154"/>
            <p14:sldId id="2147477155"/>
            <p14:sldId id="2147477156"/>
            <p14:sldId id="2147477157"/>
            <p14:sldId id="2147477158"/>
            <p14:sldId id="2147477159"/>
            <p14:sldId id="2147477160"/>
            <p14:sldId id="2147477161"/>
            <p14:sldId id="2147477162"/>
            <p14:sldId id="2147477163"/>
            <p14:sldId id="2147477164"/>
            <p14:sldId id="2147477165"/>
            <p14:sldId id="2147477166"/>
            <p14:sldId id="2147477167"/>
            <p14:sldId id="2147477168"/>
            <p14:sldId id="2147477169"/>
            <p14:sldId id="2147477170"/>
            <p14:sldId id="2147477171"/>
            <p14:sldId id="2147477172"/>
            <p14:sldId id="2147477173"/>
            <p14:sldId id="2147477174"/>
            <p14:sldId id="2147477175"/>
            <p14:sldId id="2147477176"/>
            <p14:sldId id="2147477177"/>
            <p14:sldId id="2147477178"/>
            <p14:sldId id="2147477179"/>
            <p14:sldId id="2147477180"/>
            <p14:sldId id="2147477181"/>
            <p14:sldId id="2147477182"/>
            <p14:sldId id="2147477183"/>
            <p14:sldId id="2147477184"/>
            <p14:sldId id="2147477185"/>
            <p14:sldId id="2147477186"/>
            <p14:sldId id="2147477187"/>
            <p14:sldId id="2147477188"/>
            <p14:sldId id="2147477189"/>
            <p14:sldId id="2147477190"/>
            <p14:sldId id="2147477191"/>
            <p14:sldId id="2147477192"/>
            <p14:sldId id="2147477193"/>
            <p14:sldId id="2147477194"/>
            <p14:sldId id="2147477195"/>
            <p14:sldId id="2147477196"/>
            <p14:sldId id="2147477197"/>
            <p14:sldId id="2147477198"/>
            <p14:sldId id="2147477199"/>
            <p14:sldId id="2147477200"/>
            <p14:sldId id="2147477201"/>
            <p14:sldId id="2147477202"/>
            <p14:sldId id="2147477203"/>
            <p14:sldId id="2147477204"/>
            <p14:sldId id="2147477205"/>
            <p14:sldId id="2147477206"/>
            <p14:sldId id="2147477207"/>
            <p14:sldId id="2147477208"/>
            <p14:sldId id="2147477209"/>
            <p14:sldId id="2147477210"/>
            <p14:sldId id="2147477211"/>
            <p14:sldId id="2147477212"/>
            <p14:sldId id="2147477213"/>
            <p14:sldId id="2147477214"/>
            <p14:sldId id="2147477215"/>
            <p14:sldId id="2147477216"/>
            <p14:sldId id="2147477217"/>
            <p14:sldId id="2147477218"/>
            <p14:sldId id="2147477219"/>
            <p14:sldId id="2147477220"/>
            <p14:sldId id="2147477221"/>
            <p14:sldId id="2147477222"/>
            <p14:sldId id="2147477223"/>
            <p14:sldId id="2147477224"/>
            <p14:sldId id="2147477225"/>
            <p14:sldId id="2147477226"/>
            <p14:sldId id="2147477227"/>
            <p14:sldId id="2147477228"/>
            <p14:sldId id="2147477229"/>
            <p14:sldId id="2147477230"/>
            <p14:sldId id="2147477231"/>
            <p14:sldId id="2147477232"/>
            <p14:sldId id="2147477233"/>
            <p14:sldId id="2147477234"/>
            <p14:sldId id="2147477235"/>
            <p14:sldId id="2147477236"/>
            <p14:sldId id="2147477237"/>
            <p14:sldId id="2147477238"/>
            <p14:sldId id="214747723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notesMaster" Target="notesMasters/notesMaster1.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theme" Target="theme/theme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tableStyles" Target="tableStyles.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Eucerin</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La Roche-Posa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8</c:f>
              <c:numCache>
                <c:formatCode>General</c:formatCode>
                <c:ptCount val="17"/>
                <c:pt idx="0">
                  <c:v>-2.0253575930104755</c:v>
                </c:pt>
                <c:pt idx="1">
                  <c:v>-2.0405674432701595</c:v>
                </c:pt>
                <c:pt idx="2">
                  <c:v>-2.2219046632655748</c:v>
                </c:pt>
                <c:pt idx="3">
                  <c:v>-0.5978805409323199</c:v>
                </c:pt>
                <c:pt idx="4">
                  <c:v>-1.5937328173380765</c:v>
                </c:pt>
                <c:pt idx="5">
                  <c:v>-1.7261963092372712</c:v>
                </c:pt>
                <c:pt idx="6">
                  <c:v>-0.69246705548586285</c:v>
                </c:pt>
                <c:pt idx="7">
                  <c:v>-0.99216527602380722</c:v>
                </c:pt>
                <c:pt idx="8">
                  <c:v>-1.2475584832552082</c:v>
                </c:pt>
                <c:pt idx="9">
                  <c:v>-2.3255702429900147</c:v>
                </c:pt>
                <c:pt idx="10">
                  <c:v>-1.9319533657228816</c:v>
                </c:pt>
                <c:pt idx="11">
                  <c:v>-2.320534821779261</c:v>
                </c:pt>
                <c:pt idx="12">
                  <c:v>-0.99474274873543733</c:v>
                </c:pt>
                <c:pt idx="13">
                  <c:v>-2.3580397576558831</c:v>
                </c:pt>
                <c:pt idx="14">
                  <c:v>-2.4675547287377673</c:v>
                </c:pt>
                <c:pt idx="15">
                  <c:v>-1.7407684287728244</c:v>
                </c:pt>
                <c:pt idx="16">
                  <c:v>-1.1645288181168223</c:v>
                </c:pt>
              </c:numCache>
            </c:numRef>
          </c:xVal>
          <c:yVal>
            <c:numRef>
              <c:f>Sheet1!$B$2:$B$18</c:f>
              <c:numCache>
                <c:formatCode>General</c:formatCode>
                <c:ptCount val="17"/>
                <c:pt idx="0">
                  <c:v>-1.4605014035671124</c:v>
                </c:pt>
                <c:pt idx="1">
                  <c:v>-0.57924696385950625</c:v>
                </c:pt>
                <c:pt idx="2">
                  <c:v>-1.298921919123508</c:v>
                </c:pt>
                <c:pt idx="3">
                  <c:v>-1.975555267252938</c:v>
                </c:pt>
                <c:pt idx="4">
                  <c:v>-1.1187926942460193</c:v>
                </c:pt>
                <c:pt idx="5">
                  <c:v>-1.9069465395787533</c:v>
                </c:pt>
                <c:pt idx="6">
                  <c:v>-0.57805817737053666</c:v>
                </c:pt>
                <c:pt idx="7">
                  <c:v>-0.99226906458635877</c:v>
                </c:pt>
                <c:pt idx="8">
                  <c:v>-1.2954597165825021</c:v>
                </c:pt>
                <c:pt idx="9">
                  <c:v>-1.8229064242910398</c:v>
                </c:pt>
                <c:pt idx="10">
                  <c:v>-1.0826881318730208</c:v>
                </c:pt>
                <c:pt idx="11">
                  <c:v>-0.87353531055736244</c:v>
                </c:pt>
                <c:pt idx="12">
                  <c:v>-0.63546490393672572</c:v>
                </c:pt>
                <c:pt idx="13">
                  <c:v>-0.67957307532991751</c:v>
                </c:pt>
                <c:pt idx="14">
                  <c:v>-0.87172963207545384</c:v>
                </c:pt>
                <c:pt idx="15">
                  <c:v>-1.4267068714285782</c:v>
                </c:pt>
                <c:pt idx="16">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La Roche-Posay (1.9%)</c:v>
                </c:pt>
                <c:pt idx="7">
                  <c:v>Isdin (1.8%)</c:v>
                </c:pt>
                <c:pt idx="8">
                  <c:v>Garnier (1.7%)</c:v>
                </c:pt>
                <c:pt idx="9">
                  <c:v>Eucerin (1.1%)</c:v>
                </c:pt>
              </c:strCache>
            </c:strRef>
          </c:cat>
          <c:val>
            <c:numRef>
              <c:f>Sheet1!$B$2:$B$11</c:f>
              <c:numCache>
                <c:formatCode>General</c:formatCode>
                <c:ptCount val="10"/>
                <c:pt idx="0">
                  <c:v>0.42990241085572489</c:v>
                </c:pt>
                <c:pt idx="1">
                  <c:v>0.28374123346161434</c:v>
                </c:pt>
                <c:pt idx="2">
                  <c:v>0.10557060063496233</c:v>
                </c:pt>
                <c:pt idx="3">
                  <c:v>9.4910505458793454E-2</c:v>
                </c:pt>
                <c:pt idx="4">
                  <c:v>2.0985217449211929E-2</c:v>
                </c:pt>
                <c:pt idx="5">
                  <c:v>1.8737543987285086E-2</c:v>
                </c:pt>
                <c:pt idx="6">
                  <c:v>1.0787648747206753E-2</c:v>
                </c:pt>
                <c:pt idx="7">
                  <c:v>1.0250546869451874E-2</c:v>
                </c:pt>
                <c:pt idx="8">
                  <c:v>7.0722921554834638E-3</c:v>
                </c:pt>
                <c:pt idx="9">
                  <c:v>6.5768476710323853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Sensitive Skin Gel FPS50+ 200ml (5.1%)</c:v>
                </c:pt>
                <c:pt idx="4">
                  <c:v>Nivea Sun Protection &amp; Hydration Lotion FPS50+ 125ml (4.5%)</c:v>
                </c:pt>
                <c:pt idx="5">
                  <c:v>Hawaiian Tropic Sheer Touch Lotion FPS50+ 240ml (4.4%)</c:v>
                </c:pt>
                <c:pt idx="6">
                  <c:v>Hawaiian Tropic Island Sport Lotion FPS50 240ml (3.6%)</c:v>
                </c:pt>
                <c:pt idx="7">
                  <c:v>Banana Boat Aqua Protect Sport Lotion FPS50+ 236ml (3.1%)</c:v>
                </c:pt>
                <c:pt idx="8">
                  <c:v>Nivea Sun Babies &amp; Kids Lotion FPS50+ 200ml (2.3%)</c:v>
                </c:pt>
                <c:pt idx="9">
                  <c:v>Banana Boat Aqua Protect Cream FPS50+ 236ml (2.7%)</c:v>
                </c:pt>
              </c:strCache>
            </c:strRef>
          </c:cat>
          <c:val>
            <c:numRef>
              <c:f>Sheet1!$B$2:$B$11</c:f>
              <c:numCache>
                <c:formatCode>General</c:formatCode>
                <c:ptCount val="10"/>
                <c:pt idx="0">
                  <c:v>9.1158620683290878E-2</c:v>
                </c:pt>
                <c:pt idx="1">
                  <c:v>5.2777759695425426E-2</c:v>
                </c:pt>
                <c:pt idx="2">
                  <c:v>5.0485880822529437E-2</c:v>
                </c:pt>
                <c:pt idx="3">
                  <c:v>4.689592020995284E-2</c:v>
                </c:pt>
                <c:pt idx="4">
                  <c:v>4.2978502095055909E-2</c:v>
                </c:pt>
                <c:pt idx="5">
                  <c:v>3.691654553120164E-2</c:v>
                </c:pt>
                <c:pt idx="6">
                  <c:v>3.4885460572392647E-2</c:v>
                </c:pt>
                <c:pt idx="7">
                  <c:v>3.4615485714267105E-2</c:v>
                </c:pt>
                <c:pt idx="8">
                  <c:v>2.7223972716819499E-2</c:v>
                </c:pt>
                <c:pt idx="9">
                  <c:v>2.655457311819740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Antioxidant Face Lotion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0</c:v>
                </c:pt>
                <c:pt idx="2">
                  <c:v>330</c:v>
                </c:pt>
                <c:pt idx="3">
                  <c:v>365</c:v>
                </c:pt>
                <c:pt idx="4">
                  <c:v>395</c:v>
                </c:pt>
              </c:numCache>
            </c:numRef>
          </c:xVal>
          <c:yVal>
            <c:numRef>
              <c:f>Sheet1!$B$2:$B$6</c:f>
              <c:numCache>
                <c:formatCode>General</c:formatCode>
                <c:ptCount val="5"/>
                <c:pt idx="0">
                  <c:v>0.33870051461276823</c:v>
                </c:pt>
                <c:pt idx="1">
                  <c:v>0.17655310472459931</c:v>
                </c:pt>
                <c:pt idx="2">
                  <c:v>0</c:v>
                </c:pt>
                <c:pt idx="3">
                  <c:v>-7.0665314328809903E-2</c:v>
                </c:pt>
                <c:pt idx="4">
                  <c:v>-0.1291848136803757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Matte Face Lotion FPS30 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00</c:v>
                </c:pt>
                <c:pt idx="2">
                  <c:v>330</c:v>
                </c:pt>
                <c:pt idx="3">
                  <c:v>365</c:v>
                </c:pt>
                <c:pt idx="4">
                  <c:v>395</c:v>
                </c:pt>
              </c:numCache>
            </c:numRef>
          </c:xVal>
          <c:yVal>
            <c:numRef>
              <c:f>Sheet1!$B$9:$B$13</c:f>
              <c:numCache>
                <c:formatCode>General</c:formatCode>
                <c:ptCount val="5"/>
                <c:pt idx="0">
                  <c:v>0.34286423808497207</c:v>
                </c:pt>
                <c:pt idx="1">
                  <c:v>0.14533139688754051</c:v>
                </c:pt>
                <c:pt idx="2">
                  <c:v>0</c:v>
                </c:pt>
                <c:pt idx="3">
                  <c:v>-8.343590035611971E-2</c:v>
                </c:pt>
                <c:pt idx="4">
                  <c:v>-0.15504703528768221</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Sensitive Face Lotion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90</c:v>
                </c:pt>
                <c:pt idx="1">
                  <c:v>300</c:v>
                </c:pt>
                <c:pt idx="2">
                  <c:v>330</c:v>
                </c:pt>
                <c:pt idx="3">
                  <c:v>365</c:v>
                </c:pt>
                <c:pt idx="4">
                  <c:v>395</c:v>
                </c:pt>
              </c:numCache>
            </c:numRef>
          </c:xVal>
          <c:yVal>
            <c:numRef>
              <c:f>Sheet1!$B$16:$B$20</c:f>
              <c:numCache>
                <c:formatCode>General</c:formatCode>
                <c:ptCount val="5"/>
                <c:pt idx="0">
                  <c:v>0.30398551283053848</c:v>
                </c:pt>
                <c:pt idx="1">
                  <c:v>0.16096699712974555</c:v>
                </c:pt>
                <c:pt idx="2">
                  <c:v>0</c:v>
                </c:pt>
                <c:pt idx="3">
                  <c:v>-7.0928932472834924E-2</c:v>
                </c:pt>
                <c:pt idx="4">
                  <c:v>-0.125703433646575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5"/>
          <c:min val="2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3.87005146127686</c:v>
                </c:pt>
                <c:pt idx="1">
                  <c:v>124.96630750770829</c:v>
                </c:pt>
                <c:pt idx="2">
                  <c:v>117.65531047245987</c:v>
                </c:pt>
                <c:pt idx="3">
                  <c:v>112.43784847018151</c:v>
                </c:pt>
                <c:pt idx="4">
                  <c:v>108.16970960725179</c:v>
                </c:pt>
                <c:pt idx="5">
                  <c:v>104.58852814729465</c:v>
                </c:pt>
                <c:pt idx="6">
                  <c:v>102.93500243505038</c:v>
                </c:pt>
                <c:pt idx="7">
                  <c:v>101.41189939402366</c:v>
                </c:pt>
                <c:pt idx="8">
                  <c:v>100</c:v>
                </c:pt>
                <c:pt idx="9">
                  <c:v>98.68378295442119</c:v>
                </c:pt>
                <c:pt idx="10">
                  <c:v>97.130607725933658</c:v>
                </c:pt>
                <c:pt idx="11">
                  <c:v>95.649452586299773</c:v>
                </c:pt>
                <c:pt idx="12">
                  <c:v>94.233579837131202</c:v>
                </c:pt>
                <c:pt idx="13">
                  <c:v>93.788280901196458</c:v>
                </c:pt>
                <c:pt idx="14">
                  <c:v>93.355168914425718</c:v>
                </c:pt>
                <c:pt idx="15">
                  <c:v>92.933468567118979</c:v>
                </c:pt>
                <c:pt idx="16">
                  <c:v>92.52248278094774</c:v>
                </c:pt>
                <c:pt idx="17">
                  <c:v>92.121582244600944</c:v>
                </c:pt>
                <c:pt idx="18">
                  <c:v>91.730196620785335</c:v>
                </c:pt>
                <c:pt idx="19">
                  <c:v>91.347807125012267</c:v>
                </c:pt>
                <c:pt idx="20">
                  <c:v>89.160977659416076</c:v>
                </c:pt>
                <c:pt idx="21">
                  <c:v>87.0815186319623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7.63458921188132</c:v>
                </c:pt>
                <c:pt idx="1">
                  <c:v>111.71135882707834</c:v>
                </c:pt>
                <c:pt idx="2">
                  <c:v>106.96346704593847</c:v>
                </c:pt>
                <c:pt idx="3">
                  <c:v>103.92615755263235</c:v>
                </c:pt>
                <c:pt idx="4">
                  <c:v>101.62115539644702</c:v>
                </c:pt>
                <c:pt idx="5">
                  <c:v>99.841654300245125</c:v>
                </c:pt>
                <c:pt idx="6">
                  <c:v>99.820655463813779</c:v>
                </c:pt>
                <c:pt idx="7">
                  <c:v>99.877859758733649</c:v>
                </c:pt>
                <c:pt idx="8">
                  <c:v>100</c:v>
                </c:pt>
                <c:pt idx="9">
                  <c:v>100.17639281852526</c:v>
                </c:pt>
                <c:pt idx="10">
                  <c:v>100.06881159411209</c:v>
                </c:pt>
                <c:pt idx="11">
                  <c:v>99.989474768270355</c:v>
                </c:pt>
                <c:pt idx="12">
                  <c:v>99.934512556281192</c:v>
                </c:pt>
                <c:pt idx="13">
                  <c:v>100.87908555671552</c:v>
                </c:pt>
                <c:pt idx="14">
                  <c:v>101.82339814226775</c:v>
                </c:pt>
                <c:pt idx="15">
                  <c:v>102.76714755370287</c:v>
                </c:pt>
                <c:pt idx="16">
                  <c:v>103.71007173114069</c:v>
                </c:pt>
                <c:pt idx="17">
                  <c:v>104.65194335168029</c:v>
                </c:pt>
                <c:pt idx="18">
                  <c:v>105.59256484002854</c:v>
                </c:pt>
                <c:pt idx="19">
                  <c:v>106.53176417993295</c:v>
                </c:pt>
                <c:pt idx="20">
                  <c:v>105.33163172778353</c:v>
                </c:pt>
                <c:pt idx="21">
                  <c:v>104.19371881401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81842569032708</c:v>
                </c:pt>
                <c:pt idx="1">
                  <c:v>104.50405330258963</c:v>
                </c:pt>
                <c:pt idx="2">
                  <c:v>101.14233701939328</c:v>
                </c:pt>
                <c:pt idx="3">
                  <c:v>99.287264790247548</c:v>
                </c:pt>
                <c:pt idx="4">
                  <c:v>98.04859941399458</c:v>
                </c:pt>
                <c:pt idx="5">
                  <c:v>97.249005681813344</c:v>
                </c:pt>
                <c:pt idx="6">
                  <c:v>98.119345139810306</c:v>
                </c:pt>
                <c:pt idx="7">
                  <c:v>99.039698774272637</c:v>
                </c:pt>
                <c:pt idx="8">
                  <c:v>100</c:v>
                </c:pt>
                <c:pt idx="9">
                  <c:v>100.99216818813323</c:v>
                </c:pt>
                <c:pt idx="10">
                  <c:v>101.67471525613601</c:v>
                </c:pt>
                <c:pt idx="11">
                  <c:v>102.36167350100143</c:v>
                </c:pt>
                <c:pt idx="12">
                  <c:v>103.05072882366004</c:v>
                </c:pt>
                <c:pt idx="13">
                  <c:v>104.75763555329505</c:v>
                </c:pt>
                <c:pt idx="14">
                  <c:v>106.45760704322826</c:v>
                </c:pt>
                <c:pt idx="15">
                  <c:v>108.15059625464795</c:v>
                </c:pt>
                <c:pt idx="16">
                  <c:v>109.83657647648879</c:v>
                </c:pt>
                <c:pt idx="17">
                  <c:v>111.51553780790302</c:v>
                </c:pt>
                <c:pt idx="18">
                  <c:v>113.18748423436591</c:v>
                </c:pt>
                <c:pt idx="19">
                  <c:v>114.85243119444171</c:v>
                </c:pt>
                <c:pt idx="20">
                  <c:v>114.18854082213517</c:v>
                </c:pt>
                <c:pt idx="21">
                  <c:v>113.56236395805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9914027789993407</c:v>
                </c:pt>
                <c:pt idx="1">
                  <c:v>0.60593451047790137</c:v>
                </c:pt>
                <c:pt idx="2">
                  <c:v>0.61250226863660284</c:v>
                </c:pt>
                <c:pt idx="3">
                  <c:v>0.6188546904622324</c:v>
                </c:pt>
                <c:pt idx="4">
                  <c:v>0.62500219545477709</c:v>
                </c:pt>
                <c:pt idx="5">
                  <c:v>0.63095454155866948</c:v>
                </c:pt>
                <c:pt idx="6">
                  <c:v>0.63672087684681533</c:v>
                </c:pt>
                <c:pt idx="7">
                  <c:v>0.64230978643378733</c:v>
                </c:pt>
                <c:pt idx="8">
                  <c:v>0.6477293351241844</c:v>
                </c:pt>
                <c:pt idx="9">
                  <c:v>0.65298710624173395</c:v>
                </c:pt>
                <c:pt idx="10">
                  <c:v>0.65809023703229674</c:v>
                </c:pt>
                <c:pt idx="11">
                  <c:v>0.66304545098835033</c:v>
                </c:pt>
                <c:pt idx="12">
                  <c:v>0.66785908740280253</c:v>
                </c:pt>
                <c:pt idx="13">
                  <c:v>0.67253712842529823</c:v>
                </c:pt>
                <c:pt idx="14">
                  <c:v>0.67708522386383563</c:v>
                </c:pt>
                <c:pt idx="15">
                  <c:v>0.68150871394789292</c:v>
                </c:pt>
                <c:pt idx="16">
                  <c:v>0.68581265024589422</c:v>
                </c:pt>
                <c:pt idx="17">
                  <c:v>0.69000181490928236</c:v>
                </c:pt>
                <c:pt idx="18">
                  <c:v>0.69408073839731799</c:v>
                </c:pt>
                <c:pt idx="19">
                  <c:v>0.69805371582072961</c:v>
                </c:pt>
                <c:pt idx="20">
                  <c:v>0.70192482202815609</c:v>
                </c:pt>
                <c:pt idx="21">
                  <c:v>0.705697925546787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Face Stain Control FPS50+ 40ml (1.0%)</c:v>
                </c:pt>
                <c:pt idx="5">
                  <c:v>Nivea Sun Protect &amp; Refresh Sport Lotion FPS50 200ml (5.8%)</c:v>
                </c:pt>
                <c:pt idx="6">
                  <c:v>Hawaiian Tropic Ozono Lotion FPS50+ 240ml (4.4%)</c:v>
                </c:pt>
                <c:pt idx="7">
                  <c:v>Equate Kids Lotion FPS50 237ml (1.4%)</c:v>
                </c:pt>
                <c:pt idx="8">
                  <c:v>Nivea Sun Protection Sensitive Skin Gel FPS50+ 200ml (5.1%)</c:v>
                </c:pt>
                <c:pt idx="9">
                  <c:v>Caribbean Beach Advanced Protection Cream FPS50+ 150g (1.0%)</c:v>
                </c:pt>
              </c:strCache>
            </c:strRef>
          </c:cat>
          <c:val>
            <c:numRef>
              <c:f>Sheet1!$B$2:$B$11</c:f>
              <c:numCache>
                <c:formatCode>General</c:formatCode>
                <c:ptCount val="10"/>
                <c:pt idx="0">
                  <c:v>6.3984826061694366E-2</c:v>
                </c:pt>
                <c:pt idx="1">
                  <c:v>4.0776820242691116E-2</c:v>
                </c:pt>
                <c:pt idx="2">
                  <c:v>4.0007989436871012E-2</c:v>
                </c:pt>
                <c:pt idx="3">
                  <c:v>3.5806921501861412E-2</c:v>
                </c:pt>
                <c:pt idx="4">
                  <c:v>3.4193433402380513E-2</c:v>
                </c:pt>
                <c:pt idx="5">
                  <c:v>3.0287591849548209E-2</c:v>
                </c:pt>
                <c:pt idx="6">
                  <c:v>2.9544433675126006E-2</c:v>
                </c:pt>
                <c:pt idx="7">
                  <c:v>2.6942846505395107E-2</c:v>
                </c:pt>
                <c:pt idx="8">
                  <c:v>2.665157770562122E-2</c:v>
                </c:pt>
                <c:pt idx="9">
                  <c:v>2.639435924856500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Hawaiian Tropic Ozono Lotion FPS50+ 240ml (4.4%)</c:v>
                </c:pt>
                <c:pt idx="4">
                  <c:v>Nivea Sun Protection Sensitive Skin Gel FPS50+ 200ml (5.1%)</c:v>
                </c:pt>
                <c:pt idx="5">
                  <c:v>Equate Sport Lotion FPS30 237ml (2.0%)</c:v>
                </c:pt>
                <c:pt idx="6">
                  <c:v>Hawaiian Tropic Sheer Touch Lotion FPS50+ 240ml (4.4%)</c:v>
                </c:pt>
                <c:pt idx="7">
                  <c:v>Hawaiian Tropic Island Sport Lotion FPS50 240ml (3.6%)</c:v>
                </c:pt>
                <c:pt idx="8">
                  <c:v>Nivea Sun Face Stain Control FPS50+ 40ml (1.0%)</c:v>
                </c:pt>
                <c:pt idx="9">
                  <c:v>Equate Ultra Spray FPS50 156g (1.7%)</c:v>
                </c:pt>
              </c:strCache>
            </c:strRef>
          </c:cat>
          <c:val>
            <c:numRef>
              <c:f>Sheet1!$B$2:$B$11</c:f>
              <c:numCache>
                <c:formatCode>General</c:formatCode>
                <c:ptCount val="10"/>
                <c:pt idx="0">
                  <c:v>5.5238376089355827E-2</c:v>
                </c:pt>
                <c:pt idx="1">
                  <c:v>5.0337930300258453E-2</c:v>
                </c:pt>
                <c:pt idx="2">
                  <c:v>4.2131151655572435E-2</c:v>
                </c:pt>
                <c:pt idx="3">
                  <c:v>3.935851949699886E-2</c:v>
                </c:pt>
                <c:pt idx="4">
                  <c:v>3.6861406635885975E-2</c:v>
                </c:pt>
                <c:pt idx="5">
                  <c:v>2.9644020584365455E-2</c:v>
                </c:pt>
                <c:pt idx="6">
                  <c:v>2.7796690277018869E-2</c:v>
                </c:pt>
                <c:pt idx="7">
                  <c:v>2.5926926490488549E-2</c:v>
                </c:pt>
                <c:pt idx="8">
                  <c:v>2.563604346469732E-2</c:v>
                </c:pt>
                <c:pt idx="9">
                  <c:v>2.273577215699831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4.2864238084972</c:v>
                </c:pt>
                <c:pt idx="1">
                  <c:v>123.26120708384147</c:v>
                </c:pt>
                <c:pt idx="2">
                  <c:v>114.53313968875405</c:v>
                </c:pt>
                <c:pt idx="3">
                  <c:v>111.10639323749041</c:v>
                </c:pt>
                <c:pt idx="4">
                  <c:v>108.19365820081217</c:v>
                </c:pt>
                <c:pt idx="5">
                  <c:v>105.65792131990308</c:v>
                </c:pt>
                <c:pt idx="6">
                  <c:v>103.6046799421789</c:v>
                </c:pt>
                <c:pt idx="7">
                  <c:v>101.72808955257216</c:v>
                </c:pt>
                <c:pt idx="8">
                  <c:v>100</c:v>
                </c:pt>
                <c:pt idx="9">
                  <c:v>98.398123216092344</c:v>
                </c:pt>
                <c:pt idx="10">
                  <c:v>96.820295018844121</c:v>
                </c:pt>
                <c:pt idx="11">
                  <c:v>95.307014344426975</c:v>
                </c:pt>
                <c:pt idx="12">
                  <c:v>93.853019968529765</c:v>
                </c:pt>
                <c:pt idx="13">
                  <c:v>93.092798196541565</c:v>
                </c:pt>
                <c:pt idx="14">
                  <c:v>92.361394331021302</c:v>
                </c:pt>
                <c:pt idx="15">
                  <c:v>91.656409964388004</c:v>
                </c:pt>
                <c:pt idx="16">
                  <c:v>90.975745469235449</c:v>
                </c:pt>
                <c:pt idx="17">
                  <c:v>90.31755350617982</c:v>
                </c:pt>
                <c:pt idx="18">
                  <c:v>89.680200789285365</c:v>
                </c:pt>
                <c:pt idx="19">
                  <c:v>89.062236511096188</c:v>
                </c:pt>
                <c:pt idx="20">
                  <c:v>86.715180455668275</c:v>
                </c:pt>
                <c:pt idx="21">
                  <c:v>84.4952964712317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8.00404070564853</c:v>
                </c:pt>
                <c:pt idx="1">
                  <c:v>110.18859467570982</c:v>
                </c:pt>
                <c:pt idx="2">
                  <c:v>104.12514983345429</c:v>
                </c:pt>
                <c:pt idx="3">
                  <c:v>102.69304926563211</c:v>
                </c:pt>
                <c:pt idx="4">
                  <c:v>101.63967543500686</c:v>
                </c:pt>
                <c:pt idx="5">
                  <c:v>100.85770541597654</c:v>
                </c:pt>
                <c:pt idx="6">
                  <c:v>100.46684403942045</c:v>
                </c:pt>
                <c:pt idx="7">
                  <c:v>100.18764239618206</c:v>
                </c:pt>
                <c:pt idx="8">
                  <c:v>100</c:v>
                </c:pt>
                <c:pt idx="9">
                  <c:v>99.888056342491723</c:v>
                </c:pt>
                <c:pt idx="10">
                  <c:v>99.752098906561216</c:v>
                </c:pt>
                <c:pt idx="11">
                  <c:v>99.635829167744674</c:v>
                </c:pt>
                <c:pt idx="12">
                  <c:v>99.536601272957384</c:v>
                </c:pt>
                <c:pt idx="13">
                  <c:v>100.13919029293787</c:v>
                </c:pt>
                <c:pt idx="14">
                  <c:v>100.75016189349795</c:v>
                </c:pt>
                <c:pt idx="15">
                  <c:v>101.36817410552131</c:v>
                </c:pt>
                <c:pt idx="16">
                  <c:v>101.99207449742013</c:v>
                </c:pt>
                <c:pt idx="17">
                  <c:v>102.62086999353448</c:v>
                </c:pt>
                <c:pt idx="18">
                  <c:v>103.25370197202595</c:v>
                </c:pt>
                <c:pt idx="19">
                  <c:v>103.88982565426508</c:v>
                </c:pt>
                <c:pt idx="20">
                  <c:v>102.46581194543502</c:v>
                </c:pt>
                <c:pt idx="21">
                  <c:v>101.122860594451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51396279923395</c:v>
                </c:pt>
                <c:pt idx="1">
                  <c:v>102.56178347124573</c:v>
                </c:pt>
                <c:pt idx="2">
                  <c:v>98.047104876852245</c:v>
                </c:pt>
                <c:pt idx="3">
                  <c:v>97.779072489133213</c:v>
                </c:pt>
                <c:pt idx="4">
                  <c:v>97.811309939730748</c:v>
                </c:pt>
                <c:pt idx="5">
                  <c:v>98.053658598359419</c:v>
                </c:pt>
                <c:pt idx="6">
                  <c:v>98.633686787288553</c:v>
                </c:pt>
                <c:pt idx="7">
                  <c:v>99.287612746369334</c:v>
                </c:pt>
                <c:pt idx="8">
                  <c:v>100</c:v>
                </c:pt>
                <c:pt idx="9">
                  <c:v>100.75871347723817</c:v>
                </c:pt>
                <c:pt idx="10">
                  <c:v>101.46577072574996</c:v>
                </c:pt>
                <c:pt idx="11">
                  <c:v>102.16631620487759</c:v>
                </c:pt>
                <c:pt idx="12">
                  <c:v>102.85922934227096</c:v>
                </c:pt>
                <c:pt idx="13">
                  <c:v>104.25937056718324</c:v>
                </c:pt>
                <c:pt idx="14">
                  <c:v>105.6560020432949</c:v>
                </c:pt>
                <c:pt idx="15">
                  <c:v>107.04839663682202</c:v>
                </c:pt>
                <c:pt idx="16">
                  <c:v>108.43595318344346</c:v>
                </c:pt>
                <c:pt idx="17">
                  <c:v>109.81817579692054</c:v>
                </c:pt>
                <c:pt idx="18">
                  <c:v>111.19465672416852</c:v>
                </c:pt>
                <c:pt idx="19">
                  <c:v>112.56506211382327</c:v>
                </c:pt>
                <c:pt idx="20">
                  <c:v>111.67895055046246</c:v>
                </c:pt>
                <c:pt idx="21">
                  <c:v>110.847059866347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8075335294298258</c:v>
                </c:pt>
                <c:pt idx="1">
                  <c:v>0.58785922831683035</c:v>
                </c:pt>
                <c:pt idx="2">
                  <c:v>0.59472824117821643</c:v>
                </c:pt>
                <c:pt idx="3">
                  <c:v>0.60137204050316384</c:v>
                </c:pt>
                <c:pt idx="4">
                  <c:v>0.60780152372085461</c:v>
                </c:pt>
                <c:pt idx="5">
                  <c:v>0.61402689636020624</c:v>
                </c:pt>
                <c:pt idx="6">
                  <c:v>0.62005772610457799</c:v>
                </c:pt>
                <c:pt idx="7">
                  <c:v>0.62590299185681519</c:v>
                </c:pt>
                <c:pt idx="8">
                  <c:v>0.631571128343833</c:v>
                </c:pt>
                <c:pt idx="9">
                  <c:v>0.63707006672676103</c:v>
                </c:pt>
                <c:pt idx="10">
                  <c:v>0.64240727162783806</c:v>
                </c:pt>
                <c:pt idx="11">
                  <c:v>0.64758977493757952</c:v>
                </c:pt>
                <c:pt idx="12">
                  <c:v>0.65262420672418564</c:v>
                </c:pt>
                <c:pt idx="13">
                  <c:v>0.65751682353088714</c:v>
                </c:pt>
                <c:pt idx="14">
                  <c:v>0.66227353431518055</c:v>
                </c:pt>
                <c:pt idx="15">
                  <c:v>0.66689992425606837</c:v>
                </c:pt>
                <c:pt idx="16">
                  <c:v>0.67140127663098637</c:v>
                </c:pt>
                <c:pt idx="17">
                  <c:v>0.67578259294257326</c:v>
                </c:pt>
                <c:pt idx="18">
                  <c:v>0.68004861145648665</c:v>
                </c:pt>
                <c:pt idx="19">
                  <c:v>0.68420382429471405</c:v>
                </c:pt>
                <c:pt idx="20">
                  <c:v>0.68825249321401272</c:v>
                </c:pt>
                <c:pt idx="21">
                  <c:v>0.69219866418598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Equate Sport Lotion FPS30 237ml (2.0%)</c:v>
                </c:pt>
                <c:pt idx="8">
                  <c:v>Nivea Sun Face Shine Control FPS50+ 50ml (1.5%)</c:v>
                </c:pt>
                <c:pt idx="9">
                  <c:v>Banana Boat Advanced Protection Lotion FPS50+ 240ml (2.8%)</c:v>
                </c:pt>
              </c:strCache>
            </c:strRef>
          </c:cat>
          <c:val>
            <c:numRef>
              <c:f>Sheet1!$B$2:$B$11</c:f>
              <c:numCache>
                <c:formatCode>General</c:formatCode>
                <c:ptCount val="10"/>
                <c:pt idx="0">
                  <c:v>7.414371993794372E-2</c:v>
                </c:pt>
                <c:pt idx="1">
                  <c:v>6.6225957245721709E-2</c:v>
                </c:pt>
                <c:pt idx="2">
                  <c:v>4.1995159573785024E-2</c:v>
                </c:pt>
                <c:pt idx="3">
                  <c:v>3.9218999105670303E-2</c:v>
                </c:pt>
                <c:pt idx="4">
                  <c:v>3.7972039763084289E-2</c:v>
                </c:pt>
                <c:pt idx="5">
                  <c:v>2.9740288658967187E-2</c:v>
                </c:pt>
                <c:pt idx="6">
                  <c:v>2.5011107275159216E-2</c:v>
                </c:pt>
                <c:pt idx="7">
                  <c:v>2.4693225160632378E-2</c:v>
                </c:pt>
                <c:pt idx="8">
                  <c:v>2.3015221928101168E-2</c:v>
                </c:pt>
                <c:pt idx="9">
                  <c:v>2.29207244188554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Nivea Sun Protection Sensitive Skin Gel FPS50+ 200ml (5.1%)</c:v>
                </c:pt>
                <c:pt idx="4">
                  <c:v>Hawaiian Tropic Ozono Lotion FPS50+ 240ml (4.4%)</c:v>
                </c:pt>
                <c:pt idx="5">
                  <c:v>Hawaiian Tropic Sheer Touch Lotion FPS50+ 240ml (4.4%)</c:v>
                </c:pt>
                <c:pt idx="6">
                  <c:v>Hawaiian Tropic Island Sport Lotion FPS50 240ml (3.6%)</c:v>
                </c:pt>
                <c:pt idx="7">
                  <c:v>Banana Boat Advanced Protection Lotion FPS50+ 240ml (2.8%)</c:v>
                </c:pt>
                <c:pt idx="8">
                  <c:v>Banana Boat Aqua Protect Cream FPS50+ 236ml (2.7%)</c:v>
                </c:pt>
                <c:pt idx="9">
                  <c:v>Banana Boat Aqua Protect Sport Lotion FPS50+ 236ml (3.1%)</c:v>
                </c:pt>
              </c:strCache>
            </c:strRef>
          </c:cat>
          <c:val>
            <c:numRef>
              <c:f>Sheet1!$B$2:$B$11</c:f>
              <c:numCache>
                <c:formatCode>General</c:formatCode>
                <c:ptCount val="10"/>
                <c:pt idx="0">
                  <c:v>8.4535615804595607E-2</c:v>
                </c:pt>
                <c:pt idx="1">
                  <c:v>5.8068616254135751E-2</c:v>
                </c:pt>
                <c:pt idx="2">
                  <c:v>5.0723873283149271E-2</c:v>
                </c:pt>
                <c:pt idx="3">
                  <c:v>5.0305405913585233E-2</c:v>
                </c:pt>
                <c:pt idx="4">
                  <c:v>4.4430980512362953E-2</c:v>
                </c:pt>
                <c:pt idx="5">
                  <c:v>3.5944711998911215E-2</c:v>
                </c:pt>
                <c:pt idx="6">
                  <c:v>3.0701374570999116E-2</c:v>
                </c:pt>
                <c:pt idx="7">
                  <c:v>2.7181255741555162E-2</c:v>
                </c:pt>
                <c:pt idx="8">
                  <c:v>2.4063579978014771E-2</c:v>
                </c:pt>
                <c:pt idx="9">
                  <c:v>2.309798098757425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0.39855128305379</c:v>
                </c:pt>
                <c:pt idx="1">
                  <c:v>122.57934229798929</c:v>
                </c:pt>
                <c:pt idx="2">
                  <c:v>116.09669971297463</c:v>
                </c:pt>
                <c:pt idx="3">
                  <c:v>111.56201398580276</c:v>
                </c:pt>
                <c:pt idx="4">
                  <c:v>107.82541459667794</c:v>
                </c:pt>
                <c:pt idx="5">
                  <c:v>104.66766414736523</c:v>
                </c:pt>
                <c:pt idx="6">
                  <c:v>102.98576061654525</c:v>
                </c:pt>
                <c:pt idx="7">
                  <c:v>101.43655606348815</c:v>
                </c:pt>
                <c:pt idx="8">
                  <c:v>100</c:v>
                </c:pt>
                <c:pt idx="9">
                  <c:v>98.660036415427982</c:v>
                </c:pt>
                <c:pt idx="10">
                  <c:v>97.220572877896885</c:v>
                </c:pt>
                <c:pt idx="11">
                  <c:v>95.8440221944618</c:v>
                </c:pt>
                <c:pt idx="12">
                  <c:v>94.524717953419795</c:v>
                </c:pt>
                <c:pt idx="13">
                  <c:v>93.969152970978001</c:v>
                </c:pt>
                <c:pt idx="14">
                  <c:v>93.430345400574623</c:v>
                </c:pt>
                <c:pt idx="15">
                  <c:v>92.907106752716487</c:v>
                </c:pt>
                <c:pt idx="16">
                  <c:v>92.398382544871438</c:v>
                </c:pt>
                <c:pt idx="17">
                  <c:v>91.903232719228583</c:v>
                </c:pt>
                <c:pt idx="18">
                  <c:v>91.420815390478694</c:v>
                </c:pt>
                <c:pt idx="19">
                  <c:v>90.950373300120276</c:v>
                </c:pt>
                <c:pt idx="20">
                  <c:v>89.147740449413917</c:v>
                </c:pt>
                <c:pt idx="21">
                  <c:v>87.42965663534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4.58707829826949</c:v>
                </c:pt>
                <c:pt idx="1">
                  <c:v>109.58036215435392</c:v>
                </c:pt>
                <c:pt idx="2">
                  <c:v>105.54909506260741</c:v>
                </c:pt>
                <c:pt idx="3">
                  <c:v>103.11899534913496</c:v>
                </c:pt>
                <c:pt idx="4">
                  <c:v>101.2996954744893</c:v>
                </c:pt>
                <c:pt idx="5">
                  <c:v>99.918713258785402</c:v>
                </c:pt>
                <c:pt idx="6">
                  <c:v>99.870926579535421</c:v>
                </c:pt>
                <c:pt idx="7">
                  <c:v>99.902684159874795</c:v>
                </c:pt>
                <c:pt idx="8">
                  <c:v>100</c:v>
                </c:pt>
                <c:pt idx="9">
                  <c:v>100.15172051692009</c:v>
                </c:pt>
                <c:pt idx="10">
                  <c:v>100.16014153565989</c:v>
                </c:pt>
                <c:pt idx="11">
                  <c:v>100.19073194329155</c:v>
                </c:pt>
                <c:pt idx="12">
                  <c:v>100.24034456276429</c:v>
                </c:pt>
                <c:pt idx="13">
                  <c:v>101.06993294092919</c:v>
                </c:pt>
                <c:pt idx="14">
                  <c:v>101.9009052807035</c:v>
                </c:pt>
                <c:pt idx="15">
                  <c:v>102.73271014648311</c:v>
                </c:pt>
                <c:pt idx="16">
                  <c:v>103.56487423586363</c:v>
                </c:pt>
                <c:pt idx="17">
                  <c:v>104.39699028972605</c:v>
                </c:pt>
                <c:pt idx="18">
                  <c:v>105.2287070551734</c:v>
                </c:pt>
                <c:pt idx="19">
                  <c:v>106.05972092731812</c:v>
                </c:pt>
                <c:pt idx="20">
                  <c:v>105.30650026565918</c:v>
                </c:pt>
                <c:pt idx="21">
                  <c:v>104.599843600975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6.75784914365974</c:v>
                </c:pt>
                <c:pt idx="1">
                  <c:v>103.1341185604813</c:v>
                </c:pt>
                <c:pt idx="2">
                  <c:v>100.31082170507717</c:v>
                </c:pt>
                <c:pt idx="3">
                  <c:v>98.920940155042175</c:v>
                </c:pt>
                <c:pt idx="4">
                  <c:v>98.051270311886341</c:v>
                </c:pt>
                <c:pt idx="5">
                  <c:v>97.551738450567754</c:v>
                </c:pt>
                <c:pt idx="6">
                  <c:v>98.318040639254576</c:v>
                </c:pt>
                <c:pt idx="7">
                  <c:v>99.137804098505143</c:v>
                </c:pt>
                <c:pt idx="8">
                  <c:v>100</c:v>
                </c:pt>
                <c:pt idx="9">
                  <c:v>100.8958669816127</c:v>
                </c:pt>
                <c:pt idx="10">
                  <c:v>101.62699185765727</c:v>
                </c:pt>
                <c:pt idx="11">
                  <c:v>102.36006462240559</c:v>
                </c:pt>
                <c:pt idx="12">
                  <c:v>103.09318240321397</c:v>
                </c:pt>
                <c:pt idx="13">
                  <c:v>104.61678255456846</c:v>
                </c:pt>
                <c:pt idx="14">
                  <c:v>106.13423826209024</c:v>
                </c:pt>
                <c:pt idx="15">
                  <c:v>107.64531176950709</c:v>
                </c:pt>
                <c:pt idx="16">
                  <c:v>109.14981588835646</c:v>
                </c:pt>
                <c:pt idx="17">
                  <c:v>110.64760560610497</c:v>
                </c:pt>
                <c:pt idx="18">
                  <c:v>112.13857111630202</c:v>
                </c:pt>
                <c:pt idx="19">
                  <c:v>113.62263202010357</c:v>
                </c:pt>
                <c:pt idx="20">
                  <c:v>113.39089910755568</c:v>
                </c:pt>
                <c:pt idx="21">
                  <c:v>113.186921434557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2287577097812441</c:v>
                </c:pt>
                <c:pt idx="1">
                  <c:v>0.62926770706324109</c:v>
                </c:pt>
                <c:pt idx="2">
                  <c:v>0.6354465786121869</c:v>
                </c:pt>
                <c:pt idx="3">
                  <c:v>0.64142286420870842</c:v>
                </c:pt>
                <c:pt idx="4">
                  <c:v>0.64720636639889062</c:v>
                </c:pt>
                <c:pt idx="5">
                  <c:v>0.65280626534493991</c:v>
                </c:pt>
                <c:pt idx="6">
                  <c:v>0.65823116744892529</c:v>
                </c:pt>
                <c:pt idx="7">
                  <c:v>0.6634891494881725</c:v>
                </c:pt>
                <c:pt idx="8">
                  <c:v>0.66858779873835172</c:v>
                </c:pt>
                <c:pt idx="9">
                  <c:v>0.67353424950345098</c:v>
                </c:pt>
                <c:pt idx="10">
                  <c:v>0.67833521642251793</c:v>
                </c:pt>
                <c:pt idx="11">
                  <c:v>0.68299702488016256</c:v>
                </c:pt>
                <c:pt idx="12">
                  <c:v>0.68752563881044593</c:v>
                </c:pt>
                <c:pt idx="13">
                  <c:v>0.69192668615114394</c:v>
                </c:pt>
                <c:pt idx="14">
                  <c:v>0.69620548217682243</c:v>
                </c:pt>
                <c:pt idx="15">
                  <c:v>0.70036705091412632</c:v>
                </c:pt>
                <c:pt idx="16">
                  <c:v>0.70441614482069204</c:v>
                </c:pt>
                <c:pt idx="17">
                  <c:v>0.70835726288974965</c:v>
                </c:pt>
                <c:pt idx="18">
                  <c:v>0.71219466732541081</c:v>
                </c:pt>
                <c:pt idx="19">
                  <c:v>0.71593239891858718</c:v>
                </c:pt>
                <c:pt idx="20">
                  <c:v>0.71957429124014394</c:v>
                </c:pt>
                <c:pt idx="21">
                  <c:v>0.723123983756091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Caribbean Beach Sport Cream FPS50+ 150g (1.0%)</c:v>
                </c:pt>
                <c:pt idx="4">
                  <c:v>Nivea Sun Protect &amp; Refresh Sport Lotion FPS50 200ml (5.8%)</c:v>
                </c:pt>
                <c:pt idx="5">
                  <c:v>Nivea Sun Protection Sensitive Skin Gel FPS50+ 200ml (5.1%)</c:v>
                </c:pt>
                <c:pt idx="6">
                  <c:v>Hawaiian Tropic Ozono Lotion FPS50+ 240ml (4.4%)</c:v>
                </c:pt>
                <c:pt idx="7">
                  <c:v>Equate Sport Lotion FPS30 237ml (2.0%)</c:v>
                </c:pt>
                <c:pt idx="8">
                  <c:v>Nuvel Suncare Mineral FPS50 120ml (0.7%)</c:v>
                </c:pt>
                <c:pt idx="9">
                  <c:v>Nivea Sun Face Stain Control FPS50+ 40ml (1.0%)</c:v>
                </c:pt>
              </c:strCache>
            </c:strRef>
          </c:cat>
          <c:val>
            <c:numRef>
              <c:f>Sheet1!$B$2:$B$11</c:f>
              <c:numCache>
                <c:formatCode>General</c:formatCode>
                <c:ptCount val="10"/>
                <c:pt idx="0">
                  <c:v>5.8488256188102279E-2</c:v>
                </c:pt>
                <c:pt idx="1">
                  <c:v>4.5263689459973874E-2</c:v>
                </c:pt>
                <c:pt idx="2">
                  <c:v>4.3570984590371536E-2</c:v>
                </c:pt>
                <c:pt idx="3">
                  <c:v>3.3625607884578371E-2</c:v>
                </c:pt>
                <c:pt idx="4">
                  <c:v>3.319455558469224E-2</c:v>
                </c:pt>
                <c:pt idx="5">
                  <c:v>3.181474416035885E-2</c:v>
                </c:pt>
                <c:pt idx="6">
                  <c:v>3.1756212063140901E-2</c:v>
                </c:pt>
                <c:pt idx="7">
                  <c:v>3.1228250668144417E-2</c:v>
                </c:pt>
                <c:pt idx="8">
                  <c:v>2.8068714535941536E-2</c:v>
                </c:pt>
                <c:pt idx="9">
                  <c:v>2.639411755535739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Caribbean Beach (6.6%)</c:v>
                </c:pt>
                <c:pt idx="2">
                  <c:v>Hawaiian Tropic (19.3%)</c:v>
                </c:pt>
                <c:pt idx="3">
                  <c:v>Banana Boat (15.9%)</c:v>
                </c:pt>
                <c:pt idx="4">
                  <c:v>Nuvel (2.3%)</c:v>
                </c:pt>
                <c:pt idx="5">
                  <c:v>Neutrogena (2.7%)</c:v>
                </c:pt>
                <c:pt idx="6">
                  <c:v>Garnier (1.7%)</c:v>
                </c:pt>
                <c:pt idx="7">
                  <c:v>Isdin (1.8%)</c:v>
                </c:pt>
                <c:pt idx="8">
                  <c:v>La Roche-Posay (1.9%)</c:v>
                </c:pt>
                <c:pt idx="9">
                  <c:v>Eucerin (1.1%)</c:v>
                </c:pt>
              </c:strCache>
            </c:strRef>
          </c:cat>
          <c:val>
            <c:numRef>
              <c:f>Sheet1!$B$2:$B$11</c:f>
              <c:numCache>
                <c:formatCode>General</c:formatCode>
                <c:ptCount val="10"/>
                <c:pt idx="0">
                  <c:v>0.33733050514565427</c:v>
                </c:pt>
                <c:pt idx="1">
                  <c:v>0.21028834908260174</c:v>
                </c:pt>
                <c:pt idx="2">
                  <c:v>0.14429047700242076</c:v>
                </c:pt>
                <c:pt idx="3">
                  <c:v>0.12037132401239403</c:v>
                </c:pt>
                <c:pt idx="4">
                  <c:v>6.823298234910502E-2</c:v>
                </c:pt>
                <c:pt idx="5">
                  <c:v>2.9739596618401764E-2</c:v>
                </c:pt>
                <c:pt idx="6">
                  <c:v>2.5521236834335524E-2</c:v>
                </c:pt>
                <c:pt idx="7">
                  <c:v>1.5647235790447887E-2</c:v>
                </c:pt>
                <c:pt idx="8">
                  <c:v>1.1196608704418843E-2</c:v>
                </c:pt>
                <c:pt idx="9">
                  <c:v>1.099871658805843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Nivea Sun Protection Sensitive Skin Gel FPS50+ 200ml (5.1%)</c:v>
                </c:pt>
                <c:pt idx="4">
                  <c:v>Hawaiian Tropic Ozono Lotion FPS50+ 240ml (4.4%)</c:v>
                </c:pt>
                <c:pt idx="5">
                  <c:v>Hawaiian Tropic Sheer Touch Lotion FPS50+ 240ml (4.4%)</c:v>
                </c:pt>
                <c:pt idx="6">
                  <c:v>Nivea Sun Babies &amp; Kids Lotion FPS50+ 200ml (2.3%)</c:v>
                </c:pt>
                <c:pt idx="7">
                  <c:v>Hawaiian Tropic Island Sport Lotion FPS50 240ml (3.6%)</c:v>
                </c:pt>
                <c:pt idx="8">
                  <c:v>Equate Sport Lotion FPS30 237ml (2.0%)</c:v>
                </c:pt>
                <c:pt idx="9">
                  <c:v>Equate Ultra Spray FPS50 156g (1.7%)</c:v>
                </c:pt>
              </c:strCache>
            </c:strRef>
          </c:cat>
          <c:val>
            <c:numRef>
              <c:f>Sheet1!$B$2:$B$11</c:f>
              <c:numCache>
                <c:formatCode>General</c:formatCode>
                <c:ptCount val="10"/>
                <c:pt idx="0">
                  <c:v>6.3628942100544331E-2</c:v>
                </c:pt>
                <c:pt idx="1">
                  <c:v>4.6017087480224692E-2</c:v>
                </c:pt>
                <c:pt idx="2">
                  <c:v>4.6013375251248573E-2</c:v>
                </c:pt>
                <c:pt idx="3">
                  <c:v>4.3930153490286145E-2</c:v>
                </c:pt>
                <c:pt idx="4">
                  <c:v>4.2120350833789136E-2</c:v>
                </c:pt>
                <c:pt idx="5">
                  <c:v>3.2794855594174971E-2</c:v>
                </c:pt>
                <c:pt idx="6">
                  <c:v>2.6460673076772814E-2</c:v>
                </c:pt>
                <c:pt idx="7">
                  <c:v>2.6017377040847455E-2</c:v>
                </c:pt>
                <c:pt idx="8">
                  <c:v>2.4110818985515654E-2</c:v>
                </c:pt>
                <c:pt idx="9">
                  <c:v>2.300867685292820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Glow Stick FPS50 2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0</c:v>
                </c:pt>
                <c:pt idx="2">
                  <c:v>345</c:v>
                </c:pt>
                <c:pt idx="3">
                  <c:v>375</c:v>
                </c:pt>
                <c:pt idx="4">
                  <c:v>415</c:v>
                </c:pt>
              </c:numCache>
            </c:numRef>
          </c:xVal>
          <c:yVal>
            <c:numRef>
              <c:f>Sheet1!$B$2:$B$6</c:f>
              <c:numCache>
                <c:formatCode>General</c:formatCode>
                <c:ptCount val="5"/>
                <c:pt idx="0">
                  <c:v>0.27790383799862572</c:v>
                </c:pt>
                <c:pt idx="1">
                  <c:v>0.1009058182188674</c:v>
                </c:pt>
                <c:pt idx="2">
                  <c:v>0</c:v>
                </c:pt>
                <c:pt idx="3">
                  <c:v>-3.3060051499166764E-2</c:v>
                </c:pt>
                <c:pt idx="4">
                  <c:v>-0.134571247617877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Glow Serum FPS50 3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20</c:v>
                </c:pt>
                <c:pt idx="2">
                  <c:v>350</c:v>
                </c:pt>
                <c:pt idx="3">
                  <c:v>390</c:v>
                </c:pt>
                <c:pt idx="4">
                  <c:v>430</c:v>
                </c:pt>
              </c:numCache>
            </c:numRef>
          </c:xVal>
          <c:yVal>
            <c:numRef>
              <c:f>Sheet1!$B$9:$B$13</c:f>
              <c:numCache>
                <c:formatCode>General</c:formatCode>
                <c:ptCount val="5"/>
                <c:pt idx="0">
                  <c:v>0.24124317301135564</c:v>
                </c:pt>
                <c:pt idx="1">
                  <c:v>9.0895329294874538E-2</c:v>
                </c:pt>
                <c:pt idx="2">
                  <c:v>0</c:v>
                </c:pt>
                <c:pt idx="3">
                  <c:v>-5.894055553996902E-2</c:v>
                </c:pt>
                <c:pt idx="4">
                  <c:v>-0.1958081175451267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Pro Age Color Face Fluid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0</c:v>
                </c:pt>
                <c:pt idx="1">
                  <c:v>275</c:v>
                </c:pt>
                <c:pt idx="2">
                  <c:v>305</c:v>
                </c:pt>
                <c:pt idx="3">
                  <c:v>335</c:v>
                </c:pt>
                <c:pt idx="4">
                  <c:v>370</c:v>
                </c:pt>
              </c:numCache>
            </c:numRef>
          </c:xVal>
          <c:yVal>
            <c:numRef>
              <c:f>Sheet1!$B$16:$B$20</c:f>
              <c:numCache>
                <c:formatCode>General</c:formatCode>
                <c:ptCount val="5"/>
                <c:pt idx="0">
                  <c:v>0.35078228874184791</c:v>
                </c:pt>
                <c:pt idx="1">
                  <c:v>0.18108097498086617</c:v>
                </c:pt>
                <c:pt idx="2">
                  <c:v>0</c:v>
                </c:pt>
                <c:pt idx="3">
                  <c:v>-9.7011134444798808E-2</c:v>
                </c:pt>
                <c:pt idx="4">
                  <c:v>-0.1478844066890246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Beautycare Glow Lip Oil FPS50+ 10g</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70</c:v>
                </c:pt>
                <c:pt idx="1">
                  <c:v>180</c:v>
                </c:pt>
                <c:pt idx="2">
                  <c:v>205</c:v>
                </c:pt>
                <c:pt idx="3">
                  <c:v>215</c:v>
                </c:pt>
                <c:pt idx="4">
                  <c:v>240</c:v>
                </c:pt>
              </c:numCache>
            </c:numRef>
          </c:xVal>
          <c:yVal>
            <c:numRef>
              <c:f>Sheet1!$B$23:$B$27</c:f>
              <c:numCache>
                <c:formatCode>General</c:formatCode>
                <c:ptCount val="5"/>
                <c:pt idx="0">
                  <c:v>0.18998059115544286</c:v>
                </c:pt>
                <c:pt idx="1">
                  <c:v>0.14605511104476082</c:v>
                </c:pt>
                <c:pt idx="2">
                  <c:v>0</c:v>
                </c:pt>
                <c:pt idx="3">
                  <c:v>-5.5898460440395911E-2</c:v>
                </c:pt>
                <c:pt idx="4">
                  <c:v>-0.199425722943044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17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27.79038379986265</c:v>
                </c:pt>
                <c:pt idx="1">
                  <c:v>122.08334719547051</c:v>
                </c:pt>
                <c:pt idx="2">
                  <c:v>117.19453649443885</c:v>
                </c:pt>
                <c:pt idx="3">
                  <c:v>113.34494709151642</c:v>
                </c:pt>
                <c:pt idx="4">
                  <c:v>110.09058182188676</c:v>
                </c:pt>
                <c:pt idx="5">
                  <c:v>107.2774442285029</c:v>
                </c:pt>
                <c:pt idx="6">
                  <c:v>105.97497281228421</c:v>
                </c:pt>
                <c:pt idx="7">
                  <c:v>104.7574608367742</c:v>
                </c:pt>
                <c:pt idx="8">
                  <c:v>103.61323214818124</c:v>
                </c:pt>
                <c:pt idx="9">
                  <c:v>102.532802112171</c:v>
                </c:pt>
                <c:pt idx="10">
                  <c:v>101.24308226075196</c:v>
                </c:pt>
                <c:pt idx="11">
                  <c:v>100</c:v>
                </c:pt>
                <c:pt idx="12">
                  <c:v>98.799946843870956</c:v>
                </c:pt>
                <c:pt idx="13">
                  <c:v>98.358252170840885</c:v>
                </c:pt>
                <c:pt idx="14">
                  <c:v>97.927449108068984</c:v>
                </c:pt>
                <c:pt idx="15">
                  <c:v>97.506865094320901</c:v>
                </c:pt>
                <c:pt idx="16">
                  <c:v>97.095895571133042</c:v>
                </c:pt>
                <c:pt idx="17">
                  <c:v>96.693994850083371</c:v>
                </c:pt>
                <c:pt idx="18">
                  <c:v>96.30066843702788</c:v>
                </c:pt>
                <c:pt idx="19">
                  <c:v>95.915466553535893</c:v>
                </c:pt>
                <c:pt idx="20">
                  <c:v>94.180878948089315</c:v>
                </c:pt>
                <c:pt idx="21">
                  <c:v>92.521878277422346</c:v>
                </c:pt>
                <c:pt idx="22">
                  <c:v>90.933169822675424</c:v>
                </c:pt>
                <c:pt idx="23">
                  <c:v>89.409948762940189</c:v>
                </c:pt>
                <c:pt idx="24">
                  <c:v>87.947844997380543</c:v>
                </c:pt>
                <c:pt idx="25">
                  <c:v>86.5428752382122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07.38916006209401</c:v>
                </c:pt>
                <c:pt idx="1">
                  <c:v>104.38518445361331</c:v>
                </c:pt>
                <c:pt idx="2">
                  <c:v>101.92132429054601</c:v>
                </c:pt>
                <c:pt idx="3">
                  <c:v>100.22782697115072</c:v>
                </c:pt>
                <c:pt idx="4">
                  <c:v>98.95362146395253</c:v>
                </c:pt>
                <c:pt idx="5">
                  <c:v>97.985206559607434</c:v>
                </c:pt>
                <c:pt idx="6">
                  <c:v>98.325971506735556</c:v>
                </c:pt>
                <c:pt idx="7">
                  <c:v>98.708628161971887</c:v>
                </c:pt>
                <c:pt idx="8">
                  <c:v>99.125758302513802</c:v>
                </c:pt>
                <c:pt idx="9">
                  <c:v>99.571383528975133</c:v>
                </c:pt>
                <c:pt idx="10">
                  <c:v>99.781083833859284</c:v>
                </c:pt>
                <c:pt idx="11">
                  <c:v>100</c:v>
                </c:pt>
                <c:pt idx="12">
                  <c:v>100.22650987668665</c:v>
                </c:pt>
                <c:pt idx="13">
                  <c:v>101.19199316072218</c:v>
                </c:pt>
                <c:pt idx="14">
                  <c:v>102.15584534235572</c:v>
                </c:pt>
                <c:pt idx="15">
                  <c:v>103.11783188700024</c:v>
                </c:pt>
                <c:pt idx="16">
                  <c:v>104.077752045753</c:v>
                </c:pt>
                <c:pt idx="17">
                  <c:v>105.03543387249535</c:v>
                </c:pt>
                <c:pt idx="18">
                  <c:v>105.99073004934421</c:v>
                </c:pt>
                <c:pt idx="19">
                  <c:v>106.94351437872778</c:v>
                </c:pt>
                <c:pt idx="20">
                  <c:v>106.37550956311333</c:v>
                </c:pt>
                <c:pt idx="21">
                  <c:v>105.84347220007346</c:v>
                </c:pt>
                <c:pt idx="22">
                  <c:v>105.34457906283856</c:v>
                </c:pt>
                <c:pt idx="23">
                  <c:v>104.87627177687158</c:v>
                </c:pt>
                <c:pt idx="24">
                  <c:v>104.43622718588266</c:v>
                </c:pt>
                <c:pt idx="25">
                  <c:v>104.022331598731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96.048676000895099</c:v>
                </c:pt>
                <c:pt idx="1">
                  <c:v>94.515944031213664</c:v>
                </c:pt>
                <c:pt idx="2">
                  <c:v>93.377413198205588</c:v>
                </c:pt>
                <c:pt idx="3">
                  <c:v>92.869585464346841</c:v>
                </c:pt>
                <c:pt idx="4">
                  <c:v>92.689043722111336</c:v>
                </c:pt>
                <c:pt idx="5">
                  <c:v>92.742977619835258</c:v>
                </c:pt>
                <c:pt idx="6">
                  <c:v>94.009971573582135</c:v>
                </c:pt>
                <c:pt idx="7">
                  <c:v>95.295429450208943</c:v>
                </c:pt>
                <c:pt idx="8">
                  <c:v>96.594221424612186</c:v>
                </c:pt>
                <c:pt idx="9">
                  <c:v>97.90225559076616</c:v>
                </c:pt>
                <c:pt idx="10">
                  <c:v>98.956931913149205</c:v>
                </c:pt>
                <c:pt idx="11">
                  <c:v>100</c:v>
                </c:pt>
                <c:pt idx="12">
                  <c:v>101.03092922584243</c:v>
                </c:pt>
                <c:pt idx="13">
                  <c:v>102.80026929178985</c:v>
                </c:pt>
                <c:pt idx="14">
                  <c:v>104.5612911489993</c:v>
                </c:pt>
                <c:pt idx="15">
                  <c:v>106.31399931233703</c:v>
                </c:pt>
                <c:pt idx="16">
                  <c:v>108.05841322932879</c:v>
                </c:pt>
                <c:pt idx="17">
                  <c:v>109.79456458787166</c:v>
                </c:pt>
                <c:pt idx="18">
                  <c:v>111.52249507386027</c:v>
                </c:pt>
                <c:pt idx="19">
                  <c:v>113.24225450233297</c:v>
                </c:pt>
                <c:pt idx="20">
                  <c:v>113.32099992259133</c:v>
                </c:pt>
                <c:pt idx="21">
                  <c:v>113.41406364570339</c:v>
                </c:pt>
                <c:pt idx="22">
                  <c:v>113.51995624524149</c:v>
                </c:pt>
                <c:pt idx="23">
                  <c:v>113.6373327041461</c:v>
                </c:pt>
                <c:pt idx="24">
                  <c:v>113.7649763508072</c:v>
                </c:pt>
                <c:pt idx="25">
                  <c:v>113.901784888782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738862043099926</c:v>
                </c:pt>
                <c:pt idx="1">
                  <c:v>0.58110847203355198</c:v>
                </c:pt>
                <c:pt idx="2">
                  <c:v>0.58808999749965951</c:v>
                </c:pt>
                <c:pt idx="3">
                  <c:v>0.5948426204914683</c:v>
                </c:pt>
                <c:pt idx="4">
                  <c:v>0.60137741693515434</c:v>
                </c:pt>
                <c:pt idx="5">
                  <c:v>0.60770475952348524</c:v>
                </c:pt>
                <c:pt idx="6">
                  <c:v>0.61383437265593088</c:v>
                </c:pt>
                <c:pt idx="7">
                  <c:v>0.61977538230737794</c:v>
                </c:pt>
                <c:pt idx="8">
                  <c:v>0.6255363613633268</c:v>
                </c:pt>
                <c:pt idx="9">
                  <c:v>0.63112537089521747</c:v>
                </c:pt>
                <c:pt idx="10">
                  <c:v>0.63654999779381705</c:v>
                </c:pt>
                <c:pt idx="11">
                  <c:v>0.64181738913013875</c:v>
                </c:pt>
                <c:pt idx="12">
                  <c:v>0.64693428357113669</c:v>
                </c:pt>
                <c:pt idx="13">
                  <c:v>0.65190704014055734</c:v>
                </c:pt>
                <c:pt idx="14">
                  <c:v>0.65674166458304961</c:v>
                </c:pt>
                <c:pt idx="15">
                  <c:v>0.66144383356136383</c:v>
                </c:pt>
                <c:pt idx="16">
                  <c:v>0.66601891689161574</c:v>
                </c:pt>
                <c:pt idx="17">
                  <c:v>0.67047199799972756</c:v>
                </c:pt>
                <c:pt idx="18">
                  <c:v>0.67480789276288911</c:v>
                </c:pt>
                <c:pt idx="19">
                  <c:v>0.67903116688285148</c:v>
                </c:pt>
                <c:pt idx="20">
                  <c:v>0.68314615192281503</c:v>
                </c:pt>
                <c:pt idx="21">
                  <c:v>0.68715696012632366</c:v>
                </c:pt>
                <c:pt idx="22">
                  <c:v>0.69106749812474466</c:v>
                </c:pt>
                <c:pt idx="23">
                  <c:v>0.69488147962937741</c:v>
                </c:pt>
                <c:pt idx="24">
                  <c:v>0.69860243719487281</c:v>
                </c:pt>
                <c:pt idx="25">
                  <c:v>0.70223373313228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Equate Sport Lotion FPS30 237ml (2.0%)</c:v>
                </c:pt>
                <c:pt idx="5">
                  <c:v>Equate Ultra Spray FPS50 156g (1.7%)</c:v>
                </c:pt>
                <c:pt idx="6">
                  <c:v>Nivea Sun Protection Sensitive Skin Gel FPS50+ 200ml (5.1%)</c:v>
                </c:pt>
                <c:pt idx="7">
                  <c:v>Equate Kids Lotion FPS50 237ml (1.4%)</c:v>
                </c:pt>
                <c:pt idx="8">
                  <c:v>Nivea Sun Babies &amp; Kids Lotion FPS50+ 200ml (2.3%)</c:v>
                </c:pt>
                <c:pt idx="9">
                  <c:v>Neutrogena Sun Fresh Cream FPS50 200ml (1.5%)</c:v>
                </c:pt>
              </c:strCache>
            </c:strRef>
          </c:cat>
          <c:val>
            <c:numRef>
              <c:f>Sheet1!$B$2:$B$11</c:f>
              <c:numCache>
                <c:formatCode>General</c:formatCode>
                <c:ptCount val="10"/>
                <c:pt idx="0">
                  <c:v>5.1759014561310573E-2</c:v>
                </c:pt>
                <c:pt idx="1">
                  <c:v>4.7436447963763596E-2</c:v>
                </c:pt>
                <c:pt idx="2">
                  <c:v>3.8097849548098556E-2</c:v>
                </c:pt>
                <c:pt idx="3">
                  <c:v>3.7728919705332264E-2</c:v>
                </c:pt>
                <c:pt idx="4">
                  <c:v>3.4516115830608124E-2</c:v>
                </c:pt>
                <c:pt idx="5">
                  <c:v>3.3041189573252881E-2</c:v>
                </c:pt>
                <c:pt idx="6">
                  <c:v>2.9589871604121847E-2</c:v>
                </c:pt>
                <c:pt idx="7">
                  <c:v>2.5395433044639908E-2</c:v>
                </c:pt>
                <c:pt idx="8">
                  <c:v>2.4315825001161164E-2</c:v>
                </c:pt>
                <c:pt idx="9">
                  <c:v>2.11507905523571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Nivea Sun Protection Sensitive Skin Gel FPS50+ 200ml (5.1%)</c:v>
                </c:pt>
                <c:pt idx="5">
                  <c:v>Hawaiian Tropic Sheer Touch Lotion FPS50+ 240ml (4.4%)</c:v>
                </c:pt>
                <c:pt idx="6">
                  <c:v>Neutrogena Sun Fresh Cream FPS50 200ml (1.5%)</c:v>
                </c:pt>
                <c:pt idx="7">
                  <c:v>Hawaiian Tropic Island Sport Lotion FPS50 240ml (3.6%)</c:v>
                </c:pt>
                <c:pt idx="8">
                  <c:v>Nivea Sun Babies &amp; Kids Lotion FPS50+ 200ml (2.3%)</c:v>
                </c:pt>
                <c:pt idx="9">
                  <c:v>Equate Sport Lotion FPS30 237ml (2.0%)</c:v>
                </c:pt>
              </c:strCache>
            </c:strRef>
          </c:cat>
          <c:val>
            <c:numRef>
              <c:f>Sheet1!$B$2:$B$11</c:f>
              <c:numCache>
                <c:formatCode>General</c:formatCode>
                <c:ptCount val="10"/>
                <c:pt idx="0">
                  <c:v>6.2950587459637511E-2</c:v>
                </c:pt>
                <c:pt idx="1">
                  <c:v>4.629493546206942E-2</c:v>
                </c:pt>
                <c:pt idx="2">
                  <c:v>4.0871877572980997E-2</c:v>
                </c:pt>
                <c:pt idx="3">
                  <c:v>3.7070457410887853E-2</c:v>
                </c:pt>
                <c:pt idx="4">
                  <c:v>3.5108628420282798E-2</c:v>
                </c:pt>
                <c:pt idx="5">
                  <c:v>2.9362402054029374E-2</c:v>
                </c:pt>
                <c:pt idx="6">
                  <c:v>2.7225710328330547E-2</c:v>
                </c:pt>
                <c:pt idx="7">
                  <c:v>2.6745078938101859E-2</c:v>
                </c:pt>
                <c:pt idx="8">
                  <c:v>2.6401982871717081E-2</c:v>
                </c:pt>
                <c:pt idx="9">
                  <c:v>2.31400069615285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4.12431730113549</c:v>
                </c:pt>
                <c:pt idx="1">
                  <c:v>118.83050161474313</c:v>
                </c:pt>
                <c:pt idx="2">
                  <c:v>114.47823588270951</c:v>
                </c:pt>
                <c:pt idx="3">
                  <c:v>110.79997746923556</c:v>
                </c:pt>
                <c:pt idx="4">
                  <c:v>109.08953292948738</c:v>
                </c:pt>
                <c:pt idx="5">
                  <c:v>107.50873842855083</c:v>
                </c:pt>
                <c:pt idx="6">
                  <c:v>106.03891622830157</c:v>
                </c:pt>
                <c:pt idx="7">
                  <c:v>104.66490180657355</c:v>
                </c:pt>
                <c:pt idx="8">
                  <c:v>103.03650084111446</c:v>
                </c:pt>
                <c:pt idx="9">
                  <c:v>101.48391888708525</c:v>
                </c:pt>
                <c:pt idx="10">
                  <c:v>100</c:v>
                </c:pt>
                <c:pt idx="11">
                  <c:v>99.413231434979537</c:v>
                </c:pt>
                <c:pt idx="12">
                  <c:v>98.844150468785728</c:v>
                </c:pt>
                <c:pt idx="13">
                  <c:v>98.291513099036123</c:v>
                </c:pt>
                <c:pt idx="14">
                  <c:v>97.754214759334602</c:v>
                </c:pt>
                <c:pt idx="15">
                  <c:v>97.231269935778514</c:v>
                </c:pt>
                <c:pt idx="16">
                  <c:v>96.721795276155973</c:v>
                </c:pt>
                <c:pt idx="17">
                  <c:v>96.224995528378969</c:v>
                </c:pt>
                <c:pt idx="18">
                  <c:v>94.105944446003036</c:v>
                </c:pt>
                <c:pt idx="19">
                  <c:v>92.095059267139845</c:v>
                </c:pt>
                <c:pt idx="20">
                  <c:v>90.183648286374293</c:v>
                </c:pt>
                <c:pt idx="21">
                  <c:v>88.36393109535689</c:v>
                </c:pt>
                <c:pt idx="22">
                  <c:v>86.628925194242001</c:v>
                </c:pt>
                <c:pt idx="23">
                  <c:v>84.972348428065985</c:v>
                </c:pt>
                <c:pt idx="24">
                  <c:v>83.388534861249894</c:v>
                </c:pt>
                <c:pt idx="25">
                  <c:v>81.872362082017958</c:v>
                </c:pt>
                <c:pt idx="26">
                  <c:v>80.4191882454872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06.39341093201975</c:v>
                </c:pt>
                <c:pt idx="1">
                  <c:v>103.55957220210203</c:v>
                </c:pt>
                <c:pt idx="2">
                  <c:v>101.40618582427814</c:v>
                </c:pt>
                <c:pt idx="3">
                  <c:v>99.733592544540301</c:v>
                </c:pt>
                <c:pt idx="4">
                  <c:v>99.750832700635485</c:v>
                </c:pt>
                <c:pt idx="5">
                  <c:v>99.83939408941491</c:v>
                </c:pt>
                <c:pt idx="6">
                  <c:v>99.98725564877752</c:v>
                </c:pt>
                <c:pt idx="7">
                  <c:v>100.18468479108473</c:v>
                </c:pt>
                <c:pt idx="8">
                  <c:v>100.09624195580189</c:v>
                </c:pt>
                <c:pt idx="9">
                  <c:v>100.03597997857321</c:v>
                </c:pt>
                <c:pt idx="10">
                  <c:v>100</c:v>
                </c:pt>
                <c:pt idx="11">
                  <c:v>100.82920623044991</c:v>
                </c:pt>
                <c:pt idx="12">
                  <c:v>101.65977984076405</c:v>
                </c:pt>
                <c:pt idx="13">
                  <c:v>102.4911831019913</c:v>
                </c:pt>
                <c:pt idx="14">
                  <c:v>103.32295448682794</c:v>
                </c:pt>
                <c:pt idx="15">
                  <c:v>104.15469680565295</c:v>
                </c:pt>
                <c:pt idx="16">
                  <c:v>104.98606738492037</c:v>
                </c:pt>
                <c:pt idx="17">
                  <c:v>105.81676990782245</c:v>
                </c:pt>
                <c:pt idx="18">
                  <c:v>104.83175839706639</c:v>
                </c:pt>
                <c:pt idx="19">
                  <c:v>103.90811186255782</c:v>
                </c:pt>
                <c:pt idx="20">
                  <c:v>103.04055124588135</c:v>
                </c:pt>
                <c:pt idx="21">
                  <c:v>102.22435288177081</c:v>
                </c:pt>
                <c:pt idx="22">
                  <c:v>101.45528112521866</c:v>
                </c:pt>
                <c:pt idx="23">
                  <c:v>100.7295299644928</c:v>
                </c:pt>
                <c:pt idx="24">
                  <c:v>100.04367234878282</c:v>
                </c:pt>
                <c:pt idx="25">
                  <c:v>99.394616144195538</c:v>
                </c:pt>
                <c:pt idx="26">
                  <c:v>98.7795657901485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98.841398871227099</c:v>
                </c:pt>
                <c:pt idx="1">
                  <c:v>97.046344004275895</c:v>
                </c:pt>
                <c:pt idx="2">
                  <c:v>95.823751651063191</c:v>
                </c:pt>
                <c:pt idx="3">
                  <c:v>95.001761637636136</c:v>
                </c:pt>
                <c:pt idx="4">
                  <c:v>95.757245642436345</c:v>
                </c:pt>
                <c:pt idx="5">
                  <c:v>96.559495269384044</c:v>
                </c:pt>
                <c:pt idx="6">
                  <c:v>97.399277106205076</c:v>
                </c:pt>
                <c:pt idx="7">
                  <c:v>98.269134484615236</c:v>
                </c:pt>
                <c:pt idx="8">
                  <c:v>98.838993853424086</c:v>
                </c:pt>
                <c:pt idx="9">
                  <c:v>99.416789980390234</c:v>
                </c:pt>
                <c:pt idx="10">
                  <c:v>100</c:v>
                </c:pt>
                <c:pt idx="11">
                  <c:v>101.4381824485077</c:v>
                </c:pt>
                <c:pt idx="12">
                  <c:v>102.87086924221191</c:v>
                </c:pt>
                <c:pt idx="13">
                  <c:v>104.29782119901824</c:v>
                </c:pt>
                <c:pt idx="14">
                  <c:v>105.71884857703833</c:v>
                </c:pt>
                <c:pt idx="15">
                  <c:v>107.13380281601464</c:v>
                </c:pt>
                <c:pt idx="16">
                  <c:v>108.5425697071416</c:v>
                </c:pt>
                <c:pt idx="17">
                  <c:v>109.94506373122776</c:v>
                </c:pt>
                <c:pt idx="18">
                  <c:v>109.44071828520485</c:v>
                </c:pt>
                <c:pt idx="19">
                  <c:v>108.97804182598649</c:v>
                </c:pt>
                <c:pt idx="20">
                  <c:v>108.55318193548385</c:v>
                </c:pt>
                <c:pt idx="21">
                  <c:v>108.16269351087008</c:v>
                </c:pt>
                <c:pt idx="22">
                  <c:v>107.80349047182231</c:v>
                </c:pt>
                <c:pt idx="23">
                  <c:v>107.47280362541653</c:v>
                </c:pt>
                <c:pt idx="24">
                  <c:v>107.16814387759032</c:v>
                </c:pt>
                <c:pt idx="25">
                  <c:v>106.88727008543934</c:v>
                </c:pt>
                <c:pt idx="26">
                  <c:v>106.628160937628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156902373463488</c:v>
                </c:pt>
                <c:pt idx="1">
                  <c:v>0.65728100695210001</c:v>
                </c:pt>
                <c:pt idx="2">
                  <c:v>0.66280873264642093</c:v>
                </c:pt>
                <c:pt idx="3">
                  <c:v>0.66816097498536653</c:v>
                </c:pt>
                <c:pt idx="4">
                  <c:v>0.67334595975122025</c:v>
                </c:pt>
                <c:pt idx="5">
                  <c:v>0.67837140652427841</c:v>
                </c:pt>
                <c:pt idx="6">
                  <c:v>0.68324456703148639</c:v>
                </c:pt>
                <c:pt idx="7">
                  <c:v>0.6879722600608672</c:v>
                </c:pt>
                <c:pt idx="8">
                  <c:v>0.69256090329526609</c:v>
                </c:pt>
                <c:pt idx="9">
                  <c:v>0.69701654237794353</c:v>
                </c:pt>
                <c:pt idx="10">
                  <c:v>0.70134487748683005</c:v>
                </c:pt>
                <c:pt idx="11">
                  <c:v>0.70555128766307185</c:v>
                </c:pt>
                <c:pt idx="12">
                  <c:v>0.70964085311219582</c:v>
                </c:pt>
                <c:pt idx="13">
                  <c:v>0.71361837567230268</c:v>
                </c:pt>
                <c:pt idx="14">
                  <c:v>0.71748839762267702</c:v>
                </c:pt>
                <c:pt idx="15">
                  <c:v>0.72125521898770806</c:v>
                </c:pt>
                <c:pt idx="16">
                  <c:v>0.72492291347471172</c:v>
                </c:pt>
                <c:pt idx="17">
                  <c:v>0.72849534316984554</c:v>
                </c:pt>
                <c:pt idx="18">
                  <c:v>0.73197617210356525</c:v>
                </c:pt>
                <c:pt idx="19">
                  <c:v>0.73536887878579871</c:v>
                </c:pt>
                <c:pt idx="20">
                  <c:v>0.73867676780097635</c:v>
                </c:pt>
                <c:pt idx="21">
                  <c:v>0.74190298054417392</c:v>
                </c:pt>
                <c:pt idx="22">
                  <c:v>0.74505050517168403</c:v>
                </c:pt>
                <c:pt idx="23">
                  <c:v>0.7481221858322662</c:v>
                </c:pt>
                <c:pt idx="24">
                  <c:v>0.7511207312390249</c:v>
                </c:pt>
                <c:pt idx="25">
                  <c:v>0.75404872263621292</c:v>
                </c:pt>
                <c:pt idx="26">
                  <c:v>0.75690862121021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Nivea Sun Face Stain Control FPS50+ 40ml (1.0%)</c:v>
                </c:pt>
                <c:pt idx="7">
                  <c:v>Nivea Sun Face Shine Control FPS50+ 50ml (1.5%)</c:v>
                </c:pt>
                <c:pt idx="8">
                  <c:v>Nivea Sun Babies &amp; Kids Lotion FPS50+ 200ml (2.3%)</c:v>
                </c:pt>
                <c:pt idx="9">
                  <c:v>Hawaiian Tropic Island Sport Lotion FPS50 240ml (3.6%)</c:v>
                </c:pt>
              </c:strCache>
            </c:strRef>
          </c:cat>
          <c:val>
            <c:numRef>
              <c:f>Sheet1!$B$2:$B$11</c:f>
              <c:numCache>
                <c:formatCode>General</c:formatCode>
                <c:ptCount val="10"/>
                <c:pt idx="0">
                  <c:v>6.5284093090018383E-2</c:v>
                </c:pt>
                <c:pt idx="1">
                  <c:v>6.3925099055636481E-2</c:v>
                </c:pt>
                <c:pt idx="2">
                  <c:v>5.1363259002320541E-2</c:v>
                </c:pt>
                <c:pt idx="3">
                  <c:v>4.7417335557088346E-2</c:v>
                </c:pt>
                <c:pt idx="4">
                  <c:v>3.6811353901722257E-2</c:v>
                </c:pt>
                <c:pt idx="5">
                  <c:v>2.5993260146093634E-2</c:v>
                </c:pt>
                <c:pt idx="6">
                  <c:v>2.598784960646762E-2</c:v>
                </c:pt>
                <c:pt idx="7">
                  <c:v>2.5521336577301032E-2</c:v>
                </c:pt>
                <c:pt idx="8">
                  <c:v>2.4772966566540853E-2</c:v>
                </c:pt>
                <c:pt idx="9">
                  <c:v>2.29774232005654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ion &amp; Hydration Lotion FPS50+ 125ml (4.5%)</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Nivea Sun Face Shine Control FPS50+ 50ml (1.5%)</c:v>
                </c:pt>
                <c:pt idx="8">
                  <c:v>Neutrogena Sun Fresh Cream FPS50 200ml (1.5%)</c:v>
                </c:pt>
                <c:pt idx="9">
                  <c:v>Nivea Sun Babies &amp; Kids Lotion FPS50+ 200ml (2.3%)</c:v>
                </c:pt>
              </c:strCache>
            </c:strRef>
          </c:cat>
          <c:val>
            <c:numRef>
              <c:f>Sheet1!$B$2:$B$11</c:f>
              <c:numCache>
                <c:formatCode>General</c:formatCode>
                <c:ptCount val="10"/>
                <c:pt idx="0">
                  <c:v>7.4633962550103516E-2</c:v>
                </c:pt>
                <c:pt idx="1">
                  <c:v>5.3713359631188298E-2</c:v>
                </c:pt>
                <c:pt idx="2">
                  <c:v>4.8350548056236134E-2</c:v>
                </c:pt>
                <c:pt idx="3">
                  <c:v>4.7490968190448755E-2</c:v>
                </c:pt>
                <c:pt idx="4">
                  <c:v>4.3283111313024085E-2</c:v>
                </c:pt>
                <c:pt idx="5">
                  <c:v>3.3810561980821177E-2</c:v>
                </c:pt>
                <c:pt idx="6">
                  <c:v>3.031971595930754E-2</c:v>
                </c:pt>
                <c:pt idx="7">
                  <c:v>2.8952797442190665E-2</c:v>
                </c:pt>
                <c:pt idx="8">
                  <c:v>2.5415603130382831E-2</c:v>
                </c:pt>
                <c:pt idx="9">
                  <c:v>2.437562240106034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35.07822887418484</c:v>
                </c:pt>
                <c:pt idx="1">
                  <c:v>128.33823460813662</c:v>
                </c:pt>
                <c:pt idx="2">
                  <c:v>122.78862702538211</c:v>
                </c:pt>
                <c:pt idx="3">
                  <c:v>118.10809749808658</c:v>
                </c:pt>
                <c:pt idx="4">
                  <c:v>116.63919904609973</c:v>
                </c:pt>
                <c:pt idx="5">
                  <c:v>115.21226003903516</c:v>
                </c:pt>
                <c:pt idx="6">
                  <c:v>113.82500942000988</c:v>
                </c:pt>
                <c:pt idx="7">
                  <c:v>108.29180503036066</c:v>
                </c:pt>
                <c:pt idx="8">
                  <c:v>103.51247267215824</c:v>
                </c:pt>
                <c:pt idx="9">
                  <c:v>100</c:v>
                </c:pt>
                <c:pt idx="10">
                  <c:v>96.958344719536953</c:v>
                </c:pt>
                <c:pt idx="11">
                  <c:v>94.273167667971222</c:v>
                </c:pt>
                <c:pt idx="12">
                  <c:v>93.199930447149427</c:v>
                </c:pt>
                <c:pt idx="13">
                  <c:v>92.184078204307525</c:v>
                </c:pt>
                <c:pt idx="14">
                  <c:v>91.218924599976575</c:v>
                </c:pt>
                <c:pt idx="15">
                  <c:v>90.298886555520113</c:v>
                </c:pt>
                <c:pt idx="16">
                  <c:v>88.997823515478331</c:v>
                </c:pt>
                <c:pt idx="17">
                  <c:v>87.744955874700764</c:v>
                </c:pt>
                <c:pt idx="18">
                  <c:v>86.536532722685422</c:v>
                </c:pt>
                <c:pt idx="19">
                  <c:v>86.19482575366753</c:v>
                </c:pt>
                <c:pt idx="20">
                  <c:v>85.860346712303993</c:v>
                </c:pt>
                <c:pt idx="21">
                  <c:v>85.532708443237809</c:v>
                </c:pt>
                <c:pt idx="22">
                  <c:v>85.21155933109753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15.16002521256428</c:v>
                </c:pt>
                <c:pt idx="1">
                  <c:v>111.52160496029964</c:v>
                </c:pt>
                <c:pt idx="2">
                  <c:v>108.71396384183198</c:v>
                </c:pt>
                <c:pt idx="3">
                  <c:v>106.50667294420538</c:v>
                </c:pt>
                <c:pt idx="4">
                  <c:v>107.08848399662672</c:v>
                </c:pt>
                <c:pt idx="5">
                  <c:v>107.66139505484158</c:v>
                </c:pt>
                <c:pt idx="6">
                  <c:v>108.22531039915989</c:v>
                </c:pt>
                <c:pt idx="7">
                  <c:v>104.74110078551261</c:v>
                </c:pt>
                <c:pt idx="8">
                  <c:v>101.81612188900147</c:v>
                </c:pt>
                <c:pt idx="9">
                  <c:v>100</c:v>
                </c:pt>
                <c:pt idx="10">
                  <c:v>98.546708752824301</c:v>
                </c:pt>
                <c:pt idx="11">
                  <c:v>97.361501519792</c:v>
                </c:pt>
                <c:pt idx="12">
                  <c:v>97.777254819968931</c:v>
                </c:pt>
                <c:pt idx="13">
                  <c:v>98.218913559750064</c:v>
                </c:pt>
                <c:pt idx="14">
                  <c:v>98.682072256482357</c:v>
                </c:pt>
                <c:pt idx="15">
                  <c:v>99.163097602153542</c:v>
                </c:pt>
                <c:pt idx="16">
                  <c:v>99.189686623254701</c:v>
                </c:pt>
                <c:pt idx="17">
                  <c:v>99.228187543769664</c:v>
                </c:pt>
                <c:pt idx="18">
                  <c:v>99.2766657759027</c:v>
                </c:pt>
                <c:pt idx="19">
                  <c:v>100.29248293986264</c:v>
                </c:pt>
                <c:pt idx="20">
                  <c:v>101.30555377766177</c:v>
                </c:pt>
                <c:pt idx="21">
                  <c:v>102.31577146856692</c:v>
                </c:pt>
                <c:pt idx="22">
                  <c:v>103.323046894285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79.144410732980532</c:v>
                </c:pt>
                <c:pt idx="1">
                  <c:v>81.100110053934443</c:v>
                </c:pt>
                <c:pt idx="2">
                  <c:v>83.242606966721908</c:v>
                </c:pt>
                <c:pt idx="3">
                  <c:v>85.503599094844958</c:v>
                </c:pt>
                <c:pt idx="4">
                  <c:v>89.806699415019892</c:v>
                </c:pt>
                <c:pt idx="5">
                  <c:v>94.008870782073785</c:v>
                </c:pt>
                <c:pt idx="6">
                  <c:v>98.113947196084766</c:v>
                </c:pt>
                <c:pt idx="7">
                  <c:v>98.326922410144192</c:v>
                </c:pt>
                <c:pt idx="8">
                  <c:v>98.749925591069143</c:v>
                </c:pt>
                <c:pt idx="9">
                  <c:v>100</c:v>
                </c:pt>
                <c:pt idx="10">
                  <c:v>101.41934028568251</c:v>
                </c:pt>
                <c:pt idx="11">
                  <c:v>102.94807201353962</c:v>
                </c:pt>
                <c:pt idx="12">
                  <c:v>106.06414995375673</c:v>
                </c:pt>
                <c:pt idx="13">
                  <c:v>109.14941585845853</c:v>
                </c:pt>
                <c:pt idx="14">
                  <c:v>112.20356596148821</c:v>
                </c:pt>
                <c:pt idx="15">
                  <c:v>115.22647378180366</c:v>
                </c:pt>
                <c:pt idx="16">
                  <c:v>117.66098067573108</c:v>
                </c:pt>
                <c:pt idx="17">
                  <c:v>120.04170023360518</c:v>
                </c:pt>
                <c:pt idx="18">
                  <c:v>122.36998067520068</c:v>
                </c:pt>
                <c:pt idx="19">
                  <c:v>125.85255058633152</c:v>
                </c:pt>
                <c:pt idx="20">
                  <c:v>129.31456303676447</c:v>
                </c:pt>
                <c:pt idx="21">
                  <c:v>132.75641477561118</c:v>
                </c:pt>
                <c:pt idx="22">
                  <c:v>136.178488098076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2448978371871528</c:v>
                </c:pt>
                <c:pt idx="1">
                  <c:v>0.2591450478062628</c:v>
                </c:pt>
                <c:pt idx="2">
                  <c:v>0.27286458395799879</c:v>
                </c:pt>
                <c:pt idx="3">
                  <c:v>0.28608522788603519</c:v>
                </c:pt>
                <c:pt idx="4">
                  <c:v>0.29883370595949893</c:v>
                </c:pt>
                <c:pt idx="5">
                  <c:v>0.31113486901284082</c:v>
                </c:pt>
                <c:pt idx="6">
                  <c:v>0.32301185402986093</c:v>
                </c:pt>
                <c:pt idx="7">
                  <c:v>0.3344862293852871</c:v>
                </c:pt>
                <c:pt idx="8">
                  <c:v>0.34557812556219902</c:v>
                </c:pt>
                <c:pt idx="9">
                  <c:v>0.35630635301199892</c:v>
                </c:pt>
                <c:pt idx="10">
                  <c:v>0.3666885086085796</c:v>
                </c:pt>
                <c:pt idx="11">
                  <c:v>0.37674107196399897</c:v>
                </c:pt>
                <c:pt idx="12">
                  <c:v>0.38647949271456156</c:v>
                </c:pt>
                <c:pt idx="13">
                  <c:v>0.395918269749722</c:v>
                </c:pt>
                <c:pt idx="14">
                  <c:v>0.40507102323836264</c:v>
                </c:pt>
                <c:pt idx="15">
                  <c:v>0.41395056020495419</c:v>
                </c:pt>
                <c:pt idx="16">
                  <c:v>0.42256893431958709</c:v>
                </c:pt>
                <c:pt idx="17">
                  <c:v>0.4309375004888687</c:v>
                </c:pt>
                <c:pt idx="18">
                  <c:v>0.43906696476759899</c:v>
                </c:pt>
                <c:pt idx="19">
                  <c:v>0.4469674300525624</c:v>
                </c:pt>
                <c:pt idx="20">
                  <c:v>0.45464843796849908</c:v>
                </c:pt>
                <c:pt idx="21">
                  <c:v>0.46211900731139638</c:v>
                </c:pt>
                <c:pt idx="22">
                  <c:v>0.46938766937475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Ozono Lotion FPS50+ 240ml (4.4%)</c:v>
                </c:pt>
                <c:pt idx="3">
                  <c:v>Nivea Sun Protection Sensitive Skin Gel FPS50+ 200ml (5.1%)</c:v>
                </c:pt>
                <c:pt idx="4">
                  <c:v>Nivea Sun Face Stain Control FPS50+ 40ml (1.0%)</c:v>
                </c:pt>
                <c:pt idx="5">
                  <c:v>Nivea Sun Protect &amp; Refresh Sport Lotion FPS50 200ml (5.8%)</c:v>
                </c:pt>
                <c:pt idx="6">
                  <c:v>Hawaiian Tropic Sheer Touch Lotion FPS50+ 240ml (4.4%)</c:v>
                </c:pt>
                <c:pt idx="7">
                  <c:v>Nivea Sun Face Shine Control FPS50+ 50ml (1.5%)</c:v>
                </c:pt>
                <c:pt idx="8">
                  <c:v>Hawaiian Tropic Sheer Touch Lotion FPS50 120ml (1.4%)</c:v>
                </c:pt>
                <c:pt idx="9">
                  <c:v>Equate Sport Lotion FPS30 237ml (2.0%)</c:v>
                </c:pt>
              </c:strCache>
            </c:strRef>
          </c:cat>
          <c:val>
            <c:numRef>
              <c:f>Sheet1!$B$2:$B$11</c:f>
              <c:numCache>
                <c:formatCode>General</c:formatCode>
                <c:ptCount val="10"/>
                <c:pt idx="0">
                  <c:v>5.6655039480847158E-2</c:v>
                </c:pt>
                <c:pt idx="1">
                  <c:v>5.1412236928973801E-2</c:v>
                </c:pt>
                <c:pt idx="2">
                  <c:v>3.5789413457417485E-2</c:v>
                </c:pt>
                <c:pt idx="3">
                  <c:v>3.4918278558666992E-2</c:v>
                </c:pt>
                <c:pt idx="4">
                  <c:v>3.326294219767089E-2</c:v>
                </c:pt>
                <c:pt idx="5">
                  <c:v>3.2862610216605172E-2</c:v>
                </c:pt>
                <c:pt idx="6">
                  <c:v>2.6755850881395912E-2</c:v>
                </c:pt>
                <c:pt idx="7">
                  <c:v>2.5700218383570634E-2</c:v>
                </c:pt>
                <c:pt idx="8">
                  <c:v>2.4825838312382557E-2</c:v>
                </c:pt>
                <c:pt idx="9">
                  <c:v>2.295543201920753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ibbean Beach (6.6%)</c:v>
                </c:pt>
                <c:pt idx="1">
                  <c:v>Nivea (38.0%)</c:v>
                </c:pt>
                <c:pt idx="2">
                  <c:v>Hawaiian Tropic (19.3%)</c:v>
                </c:pt>
                <c:pt idx="3">
                  <c:v>Banana Boat (15.9%)</c:v>
                </c:pt>
                <c:pt idx="4">
                  <c:v>Nuvel (2.3%)</c:v>
                </c:pt>
                <c:pt idx="5">
                  <c:v>Neutrogena (2.7%)</c:v>
                </c:pt>
                <c:pt idx="6">
                  <c:v>Garnier (1.7%)</c:v>
                </c:pt>
                <c:pt idx="7">
                  <c:v>Isdin (1.8%)</c:v>
                </c:pt>
                <c:pt idx="8">
                  <c:v>Eucerin (1.1%)</c:v>
                </c:pt>
                <c:pt idx="9">
                  <c:v>L'Oreal Paris (0.9%)</c:v>
                </c:pt>
              </c:strCache>
            </c:strRef>
          </c:cat>
          <c:val>
            <c:numRef>
              <c:f>Sheet1!$B$2:$B$11</c:f>
              <c:numCache>
                <c:formatCode>General</c:formatCode>
                <c:ptCount val="10"/>
                <c:pt idx="0">
                  <c:v>0.29020365346769528</c:v>
                </c:pt>
                <c:pt idx="1">
                  <c:v>0.28787629834845169</c:v>
                </c:pt>
                <c:pt idx="2">
                  <c:v>0.15488659997386758</c:v>
                </c:pt>
                <c:pt idx="3">
                  <c:v>0.12679984851282905</c:v>
                </c:pt>
                <c:pt idx="4">
                  <c:v>7.999024983194207E-2</c:v>
                </c:pt>
                <c:pt idx="5">
                  <c:v>1.9292349234886628E-2</c:v>
                </c:pt>
                <c:pt idx="6">
                  <c:v>1.7081103847148095E-2</c:v>
                </c:pt>
                <c:pt idx="7">
                  <c:v>6.1497486044225901E-3</c:v>
                </c:pt>
                <c:pt idx="8">
                  <c:v>4.5232622376082656E-3</c:v>
                </c:pt>
                <c:pt idx="9">
                  <c:v>3.8911747213030618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Hawaiian Tropic Ozono Lotion FPS50+ 240ml (4.4%)</c:v>
                </c:pt>
                <c:pt idx="4">
                  <c:v>Nivea Sun Face Stain Control FPS50+ 40ml (1.0%)</c:v>
                </c:pt>
                <c:pt idx="5">
                  <c:v>Nivea Sun Protection Sensitive Skin Gel FPS50+ 200ml (5.1%)</c:v>
                </c:pt>
                <c:pt idx="6">
                  <c:v>Equate Sport Lotion FPS30 237ml (2.0%)</c:v>
                </c:pt>
                <c:pt idx="7">
                  <c:v>Nivea Sun Face Shine Control FPS50+ 50ml (1.5%)</c:v>
                </c:pt>
                <c:pt idx="8">
                  <c:v>Hawaiian Tropic Sheer Touch Lotion FPS50 120ml (1.4%)</c:v>
                </c:pt>
                <c:pt idx="9">
                  <c:v>Equate Ultra Spray FPS50 156g (1.7%)</c:v>
                </c:pt>
              </c:strCache>
            </c:strRef>
          </c:cat>
          <c:val>
            <c:numRef>
              <c:f>Sheet1!$B$2:$B$11</c:f>
              <c:numCache>
                <c:formatCode>General</c:formatCode>
                <c:ptCount val="10"/>
                <c:pt idx="0">
                  <c:v>5.7539424237003034E-2</c:v>
                </c:pt>
                <c:pt idx="1">
                  <c:v>5.0236212544978225E-2</c:v>
                </c:pt>
                <c:pt idx="2">
                  <c:v>3.5966939508086868E-2</c:v>
                </c:pt>
                <c:pt idx="3">
                  <c:v>3.5037252568875001E-2</c:v>
                </c:pt>
                <c:pt idx="4">
                  <c:v>3.1860937627366248E-2</c:v>
                </c:pt>
                <c:pt idx="5">
                  <c:v>3.1310434504966941E-2</c:v>
                </c:pt>
                <c:pt idx="6">
                  <c:v>2.6815576446658353E-2</c:v>
                </c:pt>
                <c:pt idx="7">
                  <c:v>2.4572895413644838E-2</c:v>
                </c:pt>
                <c:pt idx="8">
                  <c:v>2.4317988632890555E-2</c:v>
                </c:pt>
                <c:pt idx="9">
                  <c:v>2.39848313731944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B$2:$B$16</c:f>
              <c:numCache>
                <c:formatCode>General</c:formatCode>
                <c:ptCount val="15"/>
                <c:pt idx="0">
                  <c:v>118.99805911554435</c:v>
                </c:pt>
                <c:pt idx="1">
                  <c:v>116.43896524941302</c:v>
                </c:pt>
                <c:pt idx="2">
                  <c:v>114.60551110447605</c:v>
                </c:pt>
                <c:pt idx="3">
                  <c:v>112.82359737261112</c:v>
                </c:pt>
                <c:pt idx="4">
                  <c:v>111.09098584335833</c:v>
                </c:pt>
                <c:pt idx="5">
                  <c:v>106.92739380041351</c:v>
                </c:pt>
                <c:pt idx="6">
                  <c:v>103.26196685136293</c:v>
                </c:pt>
                <c:pt idx="7">
                  <c:v>100</c:v>
                </c:pt>
                <c:pt idx="8">
                  <c:v>97.068363027386951</c:v>
                </c:pt>
                <c:pt idx="9">
                  <c:v>94.410153955960396</c:v>
                </c:pt>
                <c:pt idx="10">
                  <c:v>90.543243047739253</c:v>
                </c:pt>
                <c:pt idx="11">
                  <c:v>87.024154559082703</c:v>
                </c:pt>
                <c:pt idx="12">
                  <c:v>83.800550527710243</c:v>
                </c:pt>
                <c:pt idx="13">
                  <c:v>80.830563751148389</c:v>
                </c:pt>
                <c:pt idx="14">
                  <c:v>80.0574277056955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C$2:$C$16</c:f>
              <c:numCache>
                <c:formatCode>General</c:formatCode>
                <c:ptCount val="15"/>
                <c:pt idx="0">
                  <c:v>98.774612655472026</c:v>
                </c:pt>
                <c:pt idx="1">
                  <c:v>99.467017034206279</c:v>
                </c:pt>
                <c:pt idx="2">
                  <c:v>100.66205622290842</c:v>
                </c:pt>
                <c:pt idx="3">
                  <c:v>101.81455454509738</c:v>
                </c:pt>
                <c:pt idx="4">
                  <c:v>102.92624284103395</c:v>
                </c:pt>
                <c:pt idx="5">
                  <c:v>101.69260342229623</c:v>
                </c:pt>
                <c:pt idx="6">
                  <c:v>100.73615122707476</c:v>
                </c:pt>
                <c:pt idx="7">
                  <c:v>100</c:v>
                </c:pt>
                <c:pt idx="8">
                  <c:v>99.439763619355134</c:v>
                </c:pt>
                <c:pt idx="9">
                  <c:v>99.020684664478637</c:v>
                </c:pt>
                <c:pt idx="10">
                  <c:v>97.199747403814854</c:v>
                </c:pt>
                <c:pt idx="11">
                  <c:v>95.568021347881697</c:v>
                </c:pt>
                <c:pt idx="12">
                  <c:v>94.093059930046323</c:v>
                </c:pt>
                <c:pt idx="13">
                  <c:v>92.749111978335605</c:v>
                </c:pt>
                <c:pt idx="14">
                  <c:v>93.7909089067860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D$2:$D$16</c:f>
              <c:numCache>
                <c:formatCode>General</c:formatCode>
                <c:ptCount val="15"/>
                <c:pt idx="0">
                  <c:v>86.529398877921807</c:v>
                </c:pt>
                <c:pt idx="1">
                  <c:v>89.207184717842935</c:v>
                </c:pt>
                <c:pt idx="2">
                  <c:v>92.26968821634685</c:v>
                </c:pt>
                <c:pt idx="3">
                  <c:v>95.232765209442519</c:v>
                </c:pt>
                <c:pt idx="4">
                  <c:v>98.100466136136149</c:v>
                </c:pt>
                <c:pt idx="5">
                  <c:v>98.591629466574219</c:v>
                </c:pt>
                <c:pt idx="6">
                  <c:v>99.236957965761803</c:v>
                </c:pt>
                <c:pt idx="7">
                  <c:v>100</c:v>
                </c:pt>
                <c:pt idx="8">
                  <c:v>100.85195378794627</c:v>
                </c:pt>
                <c:pt idx="9">
                  <c:v>101.77010883868505</c:v>
                </c:pt>
                <c:pt idx="10">
                  <c:v>101.1309948283017</c:v>
                </c:pt>
                <c:pt idx="11">
                  <c:v>100.59248009239073</c:v>
                </c:pt>
                <c:pt idx="12">
                  <c:v>100.13269927410289</c:v>
                </c:pt>
                <c:pt idx="13">
                  <c:v>99.734546344942956</c:v>
                </c:pt>
                <c:pt idx="14">
                  <c:v>101.901123636486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E$2:$E$16</c:f>
              <c:numCache>
                <c:formatCode>General</c:formatCode>
                <c:ptCount val="15"/>
                <c:pt idx="0">
                  <c:v>0.54867912963435073</c:v>
                </c:pt>
                <c:pt idx="1">
                  <c:v>0.56157401164479792</c:v>
                </c:pt>
                <c:pt idx="2">
                  <c:v>0.57375251132133143</c:v>
                </c:pt>
                <c:pt idx="3">
                  <c:v>0.58527271371805212</c:v>
                </c:pt>
                <c:pt idx="4">
                  <c:v>0.59618658967284011</c:v>
                </c:pt>
                <c:pt idx="5">
                  <c:v>0.60654077968122888</c:v>
                </c:pt>
                <c:pt idx="6">
                  <c:v>0.61637726018919836</c:v>
                </c:pt>
                <c:pt idx="7">
                  <c:v>0.62573391237970566</c:v>
                </c:pt>
                <c:pt idx="8">
                  <c:v>0.6346450097039984</c:v>
                </c:pt>
                <c:pt idx="9">
                  <c:v>0.64314163738530072</c:v>
                </c:pt>
                <c:pt idx="10">
                  <c:v>0.65125205471745296</c:v>
                </c:pt>
                <c:pt idx="11">
                  <c:v>0.65900200905706496</c:v>
                </c:pt>
                <c:pt idx="12">
                  <c:v>0.66641500886017224</c:v>
                </c:pt>
                <c:pt idx="13">
                  <c:v>0.67351256186314756</c:v>
                </c:pt>
                <c:pt idx="14">
                  <c:v>0.68031438349099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Nivea Sun Protection Sensitive Skin Gel FPS50+ 200ml (5.1%)</c:v>
                </c:pt>
                <c:pt idx="7">
                  <c:v>Equate Kids Lotion FPS50 237ml (1.4%)</c:v>
                </c:pt>
                <c:pt idx="8">
                  <c:v>Hawaiian Tropic Island Sport Lotion FPS50 240ml (3.6%)</c:v>
                </c:pt>
                <c:pt idx="9">
                  <c:v>Hawaiian Tropic Sheer Touch Lotion FPS50+ 240ml (4.4%)</c:v>
                </c:pt>
              </c:strCache>
            </c:strRef>
          </c:cat>
          <c:val>
            <c:numRef>
              <c:f>Sheet1!$B$2:$B$11</c:f>
              <c:numCache>
                <c:formatCode>General</c:formatCode>
                <c:ptCount val="10"/>
                <c:pt idx="0">
                  <c:v>5.8996316216983785E-2</c:v>
                </c:pt>
                <c:pt idx="1">
                  <c:v>4.8825382680937703E-2</c:v>
                </c:pt>
                <c:pt idx="2">
                  <c:v>3.5265883683699879E-2</c:v>
                </c:pt>
                <c:pt idx="3">
                  <c:v>3.4845227466060578E-2</c:v>
                </c:pt>
                <c:pt idx="4">
                  <c:v>3.4218154673599718E-2</c:v>
                </c:pt>
                <c:pt idx="5">
                  <c:v>3.1880927069064882E-2</c:v>
                </c:pt>
                <c:pt idx="6">
                  <c:v>3.0553087872350192E-2</c:v>
                </c:pt>
                <c:pt idx="7">
                  <c:v>2.6409795455431782E-2</c:v>
                </c:pt>
                <c:pt idx="8">
                  <c:v>2.5380720480513309E-2</c:v>
                </c:pt>
                <c:pt idx="9">
                  <c:v>2.516346570127948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Equate Sport Lotion FPS30 237ml (2.0%)</c:v>
                </c:pt>
                <c:pt idx="5">
                  <c:v>Hawaiian Tropic Ozono Lotion FPS50+ 240ml (4.4%)</c:v>
                </c:pt>
                <c:pt idx="6">
                  <c:v>Nivea Sun Protection Sensitive Skin Gel FPS50+ 200ml (5.1%)</c:v>
                </c:pt>
                <c:pt idx="7">
                  <c:v>Equate Kids Lotion FPS50 237ml (1.4%)</c:v>
                </c:pt>
                <c:pt idx="8">
                  <c:v>Nivea Sun Face Shine Control FPS50+ 50ml (1.5%)</c:v>
                </c:pt>
                <c:pt idx="9">
                  <c:v>Caribbean Beach Advanced Protection Cream FPS50+ 150g (1.0%)</c:v>
                </c:pt>
              </c:strCache>
            </c:strRef>
          </c:cat>
          <c:val>
            <c:numRef>
              <c:f>Sheet1!$B$2:$B$11</c:f>
              <c:numCache>
                <c:formatCode>General</c:formatCode>
                <c:ptCount val="10"/>
                <c:pt idx="0">
                  <c:v>6.0145016106737462E-2</c:v>
                </c:pt>
                <c:pt idx="1">
                  <c:v>4.9147483560224595E-2</c:v>
                </c:pt>
                <c:pt idx="2">
                  <c:v>3.7981111529488479E-2</c:v>
                </c:pt>
                <c:pt idx="3">
                  <c:v>3.5147334739663597E-2</c:v>
                </c:pt>
                <c:pt idx="4">
                  <c:v>3.2601645947498419E-2</c:v>
                </c:pt>
                <c:pt idx="5">
                  <c:v>2.6198632572604418E-2</c:v>
                </c:pt>
                <c:pt idx="6">
                  <c:v>2.4840849764281064E-2</c:v>
                </c:pt>
                <c:pt idx="7">
                  <c:v>2.2922358598463765E-2</c:v>
                </c:pt>
                <c:pt idx="8">
                  <c:v>2.1946727803076858E-2</c:v>
                </c:pt>
                <c:pt idx="9">
                  <c:v>2.09408928920591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Lotion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6029981212280835</c:v>
                </c:pt>
                <c:pt idx="1">
                  <c:v>0.27155961748896562</c:v>
                </c:pt>
                <c:pt idx="2">
                  <c:v>0</c:v>
                </c:pt>
                <c:pt idx="3">
                  <c:v>-0.18731641189675938</c:v>
                </c:pt>
                <c:pt idx="4">
                  <c:v>-0.3074417077768326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Sport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5</c:v>
                </c:pt>
                <c:pt idx="1">
                  <c:v>350</c:v>
                </c:pt>
                <c:pt idx="2">
                  <c:v>390</c:v>
                </c:pt>
                <c:pt idx="3">
                  <c:v>430</c:v>
                </c:pt>
                <c:pt idx="4">
                  <c:v>465</c:v>
                </c:pt>
              </c:numCache>
            </c:numRef>
          </c:xVal>
          <c:yVal>
            <c:numRef>
              <c:f>Sheet1!$B$9:$B$13</c:f>
              <c:numCache>
                <c:formatCode>General</c:formatCode>
                <c:ptCount val="5"/>
                <c:pt idx="0">
                  <c:v>0.17129672380210847</c:v>
                </c:pt>
                <c:pt idx="1">
                  <c:v>0.11721555579296489</c:v>
                </c:pt>
                <c:pt idx="2">
                  <c:v>0</c:v>
                </c:pt>
                <c:pt idx="3">
                  <c:v>-9.6194012610665278E-2</c:v>
                </c:pt>
                <c:pt idx="4">
                  <c:v>-0.190309382453153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6.02998121228083</c:v>
                </c:pt>
                <c:pt idx="1">
                  <c:v>138.90813760010798</c:v>
                </c:pt>
                <c:pt idx="2">
                  <c:v>132.67577573186821</c:v>
                </c:pt>
                <c:pt idx="3">
                  <c:v>127.15596174889654</c:v>
                </c:pt>
                <c:pt idx="4">
                  <c:v>125.264085081125</c:v>
                </c:pt>
                <c:pt idx="5">
                  <c:v>123.4125337616548</c:v>
                </c:pt>
                <c:pt idx="6">
                  <c:v>121.60003002881336</c:v>
                </c:pt>
                <c:pt idx="7">
                  <c:v>110.16190559271975</c:v>
                </c:pt>
                <c:pt idx="8">
                  <c:v>101.11577805825117</c:v>
                </c:pt>
                <c:pt idx="9">
                  <c:v>100</c:v>
                </c:pt>
                <c:pt idx="10">
                  <c:v>98.958350608124803</c:v>
                </c:pt>
                <c:pt idx="11">
                  <c:v>97.978150826678785</c:v>
                </c:pt>
                <c:pt idx="12">
                  <c:v>92.955462008654607</c:v>
                </c:pt>
                <c:pt idx="13">
                  <c:v>88.561536858819807</c:v>
                </c:pt>
                <c:pt idx="14">
                  <c:v>84.694581800935993</c:v>
                </c:pt>
                <c:pt idx="15">
                  <c:v>81.268358810324045</c:v>
                </c:pt>
                <c:pt idx="16">
                  <c:v>79.674024341901699</c:v>
                </c:pt>
                <c:pt idx="17">
                  <c:v>78.141700613639998</c:v>
                </c:pt>
                <c:pt idx="18">
                  <c:v>76.668026950801803</c:v>
                </c:pt>
                <c:pt idx="19">
                  <c:v>74.609004410607099</c:v>
                </c:pt>
                <c:pt idx="20">
                  <c:v>72.697017396543743</c:v>
                </c:pt>
                <c:pt idx="21">
                  <c:v>70.917065152041701</c:v>
                </c:pt>
                <c:pt idx="22">
                  <c:v>69.2558292223167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5.26084436384706</c:v>
                </c:pt>
                <c:pt idx="1">
                  <c:v>121.33880697277495</c:v>
                </c:pt>
                <c:pt idx="2">
                  <c:v>117.98833439452261</c:v>
                </c:pt>
                <c:pt idx="3">
                  <c:v>115.08988559576439</c:v>
                </c:pt>
                <c:pt idx="4">
                  <c:v>115.38446389614765</c:v>
                </c:pt>
                <c:pt idx="5">
                  <c:v>115.65568070884207</c:v>
                </c:pt>
                <c:pt idx="6">
                  <c:v>115.90430915306827</c:v>
                </c:pt>
                <c:pt idx="7">
                  <c:v>106.68760005238181</c:v>
                </c:pt>
                <c:pt idx="8">
                  <c:v>99.490818462761794</c:v>
                </c:pt>
                <c:pt idx="9">
                  <c:v>100</c:v>
                </c:pt>
                <c:pt idx="10">
                  <c:v>100.5485337917507</c:v>
                </c:pt>
                <c:pt idx="11">
                  <c:v>101.1268506048107</c:v>
                </c:pt>
                <c:pt idx="12">
                  <c:v>97.419882405547852</c:v>
                </c:pt>
                <c:pt idx="13">
                  <c:v>94.224497941435715</c:v>
                </c:pt>
                <c:pt idx="14">
                  <c:v>91.460104548375583</c:v>
                </c:pt>
                <c:pt idx="15">
                  <c:v>89.056867904827016</c:v>
                </c:pt>
                <c:pt idx="16">
                  <c:v>88.585788137512594</c:v>
                </c:pt>
                <c:pt idx="17">
                  <c:v>88.133710431532421</c:v>
                </c:pt>
                <c:pt idx="18">
                  <c:v>87.699754811084446</c:v>
                </c:pt>
                <c:pt idx="19">
                  <c:v>86.539597979797605</c:v>
                </c:pt>
                <c:pt idx="20">
                  <c:v>85.486811857982403</c:v>
                </c:pt>
                <c:pt idx="21">
                  <c:v>84.530499018863409</c:v>
                </c:pt>
                <c:pt idx="22">
                  <c:v>83.6608480640996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0.58216262010809</c:v>
                </c:pt>
                <c:pt idx="1">
                  <c:v>108.93565951795439</c:v>
                </c:pt>
                <c:pt idx="2">
                  <c:v>107.62653010989015</c:v>
                </c:pt>
                <c:pt idx="3">
                  <c:v>106.5784455084207</c:v>
                </c:pt>
                <c:pt idx="4">
                  <c:v>108.37128856538239</c:v>
                </c:pt>
                <c:pt idx="5">
                  <c:v>110.09805295750282</c:v>
                </c:pt>
                <c:pt idx="6">
                  <c:v>111.76082721698768</c:v>
                </c:pt>
                <c:pt idx="7">
                  <c:v>104.21944362124857</c:v>
                </c:pt>
                <c:pt idx="8">
                  <c:v>98.388534631433672</c:v>
                </c:pt>
                <c:pt idx="9">
                  <c:v>100</c:v>
                </c:pt>
                <c:pt idx="10">
                  <c:v>101.62740499713649</c:v>
                </c:pt>
                <c:pt idx="11">
                  <c:v>103.26338470303493</c:v>
                </c:pt>
                <c:pt idx="12">
                  <c:v>100.47690458521794</c:v>
                </c:pt>
                <c:pt idx="13">
                  <c:v>98.116084087954789</c:v>
                </c:pt>
                <c:pt idx="14">
                  <c:v>96.116278094989809</c:v>
                </c:pt>
                <c:pt idx="15">
                  <c:v>94.419932281638467</c:v>
                </c:pt>
                <c:pt idx="16">
                  <c:v>94.716515666505813</c:v>
                </c:pt>
                <c:pt idx="17">
                  <c:v>95.002486809528904</c:v>
                </c:pt>
                <c:pt idx="18">
                  <c:v>95.278686820853721</c:v>
                </c:pt>
                <c:pt idx="19">
                  <c:v>94.732166271954483</c:v>
                </c:pt>
                <c:pt idx="20">
                  <c:v>94.265234871240878</c:v>
                </c:pt>
                <c:pt idx="21">
                  <c:v>93.869934051335548</c:v>
                </c:pt>
                <c:pt idx="22">
                  <c:v>93.5389590399514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3992660800025749</c:v>
                </c:pt>
                <c:pt idx="1">
                  <c:v>0.54860723803798861</c:v>
                </c:pt>
                <c:pt idx="2">
                  <c:v>0.55696636325950721</c:v>
                </c:pt>
                <c:pt idx="3">
                  <c:v>0.5650215202911526</c:v>
                </c:pt>
                <c:pt idx="4">
                  <c:v>0.57278899314309617</c:v>
                </c:pt>
                <c:pt idx="5">
                  <c:v>0.58028392308795418</c:v>
                </c:pt>
                <c:pt idx="6">
                  <c:v>0.58752040717264475</c:v>
                </c:pt>
                <c:pt idx="7">
                  <c:v>0.59451158671209137</c:v>
                </c:pt>
                <c:pt idx="8">
                  <c:v>0.60126972693355663</c:v>
                </c:pt>
                <c:pt idx="9">
                  <c:v>0.60780628878710485</c:v>
                </c:pt>
                <c:pt idx="10">
                  <c:v>0.61413199380666761</c:v>
                </c:pt>
                <c:pt idx="11">
                  <c:v>0.62025688279386337</c:v>
                </c:pt>
                <c:pt idx="12">
                  <c:v>0.62619036900020919</c:v>
                </c:pt>
                <c:pt idx="13">
                  <c:v>0.63194128640020608</c:v>
                </c:pt>
                <c:pt idx="14">
                  <c:v>0.63751793357596043</c:v>
                </c:pt>
                <c:pt idx="15">
                  <c:v>0.64292811367184166</c:v>
                </c:pt>
                <c:pt idx="16">
                  <c:v>0.64817917082372634</c:v>
                </c:pt>
                <c:pt idx="17">
                  <c:v>0.6532780234204838</c:v>
                </c:pt>
                <c:pt idx="18">
                  <c:v>0.65823119451447709</c:v>
                </c:pt>
                <c:pt idx="19">
                  <c:v>0.66304483966216043</c:v>
                </c:pt>
                <c:pt idx="20">
                  <c:v>0.66772477244463035</c:v>
                </c:pt>
                <c:pt idx="21">
                  <c:v>0.67227648789059447</c:v>
                </c:pt>
                <c:pt idx="22">
                  <c:v>0.676705184000180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Hawaiian Tropic Ozono Lotion FPS50+ 240ml (4.4%)</c:v>
                </c:pt>
                <c:pt idx="4">
                  <c:v>Hawaiian Tropic Sheer Touch Lotion FPS50+ 240ml (4.4%)</c:v>
                </c:pt>
                <c:pt idx="5">
                  <c:v>Hawaiian Tropic Island Sport Lotion FPS50 240ml (3.6%)</c:v>
                </c:pt>
                <c:pt idx="6">
                  <c:v>Nivea Sun Protect &amp; Refresh Sport Lotion FPS50 200ml (5.8%)</c:v>
                </c:pt>
                <c:pt idx="7">
                  <c:v>Nivea Sun Protection Sensitive Skin Gel FPS50+ 200ml (5.1%)</c:v>
                </c:pt>
                <c:pt idx="8">
                  <c:v>Banana Boat Aqua Protect Kids Cream FPS50+ 236ml (1.9%)</c:v>
                </c:pt>
                <c:pt idx="9">
                  <c:v>Equate Sport Lotion FPS30 237ml (2.0%)</c:v>
                </c:pt>
              </c:strCache>
            </c:strRef>
          </c:cat>
          <c:val>
            <c:numRef>
              <c:f>Sheet1!$B$2:$B$11</c:f>
              <c:numCache>
                <c:formatCode>General</c:formatCode>
                <c:ptCount val="10"/>
                <c:pt idx="0">
                  <c:v>0.10686828170480304</c:v>
                </c:pt>
                <c:pt idx="1">
                  <c:v>7.6199534916826406E-2</c:v>
                </c:pt>
                <c:pt idx="2">
                  <c:v>6.2257319426976654E-2</c:v>
                </c:pt>
                <c:pt idx="3">
                  <c:v>6.0859817701523586E-2</c:v>
                </c:pt>
                <c:pt idx="4">
                  <c:v>5.9152642340712026E-2</c:v>
                </c:pt>
                <c:pt idx="5">
                  <c:v>5.4852065074426852E-2</c:v>
                </c:pt>
                <c:pt idx="6">
                  <c:v>4.7880406685732999E-2</c:v>
                </c:pt>
                <c:pt idx="7">
                  <c:v>4.7354872962539103E-2</c:v>
                </c:pt>
                <c:pt idx="8">
                  <c:v>4.6829945730196207E-2</c:v>
                </c:pt>
                <c:pt idx="9">
                  <c:v>3.684181985980303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Kids Cream FPS50+ 236ml (1.9%)</c:v>
                </c:pt>
                <c:pt idx="3">
                  <c:v>Nivea Sun Protect &amp; Refresh Sport Lotion FPS50 200ml (5.8%)</c:v>
                </c:pt>
                <c:pt idx="4">
                  <c:v>Banana Boat Advanced Protection Lotion FPS50+ 240ml (2.8%)</c:v>
                </c:pt>
                <c:pt idx="5">
                  <c:v>Hawaiian Tropic Ozono Lotion FPS50+ 240ml (4.4%)</c:v>
                </c:pt>
                <c:pt idx="6">
                  <c:v>Equate Sport Lotion FPS30 237ml (2.0%)</c:v>
                </c:pt>
                <c:pt idx="7">
                  <c:v>Nivea Sun Protection Sensitive Skin Gel FPS50+ 200ml (5.1%)</c:v>
                </c:pt>
                <c:pt idx="8">
                  <c:v>Hawaiian Tropic Island Sport Lotion FPS50 240ml (3.6%)</c:v>
                </c:pt>
                <c:pt idx="9">
                  <c:v>Hawaiian Tropic Sheer Touch Lotion FPS50+ 240ml (4.4%)</c:v>
                </c:pt>
              </c:strCache>
            </c:strRef>
          </c:cat>
          <c:val>
            <c:numRef>
              <c:f>Sheet1!$B$2:$B$11</c:f>
              <c:numCache>
                <c:formatCode>General</c:formatCode>
                <c:ptCount val="10"/>
                <c:pt idx="0">
                  <c:v>0.11386571746640368</c:v>
                </c:pt>
                <c:pt idx="1">
                  <c:v>8.8630574519671365E-2</c:v>
                </c:pt>
                <c:pt idx="2">
                  <c:v>5.7060286171604607E-2</c:v>
                </c:pt>
                <c:pt idx="3">
                  <c:v>5.5974504516360692E-2</c:v>
                </c:pt>
                <c:pt idx="4">
                  <c:v>5.5268172522044141E-2</c:v>
                </c:pt>
                <c:pt idx="5">
                  <c:v>5.3494226918179448E-2</c:v>
                </c:pt>
                <c:pt idx="6">
                  <c:v>4.8639969437169507E-2</c:v>
                </c:pt>
                <c:pt idx="7">
                  <c:v>4.0428084892942487E-2</c:v>
                </c:pt>
                <c:pt idx="8">
                  <c:v>3.998444715030916E-2</c:v>
                </c:pt>
                <c:pt idx="9">
                  <c:v>3.90393599292460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B$2:$B$28</c:f>
              <c:numCache>
                <c:formatCode>General</c:formatCode>
                <c:ptCount val="27"/>
                <c:pt idx="0">
                  <c:v>117.12967238021083</c:v>
                </c:pt>
                <c:pt idx="1">
                  <c:v>115.23935949118491</c:v>
                </c:pt>
                <c:pt idx="2">
                  <c:v>113.43922347089537</c:v>
                </c:pt>
                <c:pt idx="3">
                  <c:v>111.72155557929644</c:v>
                </c:pt>
                <c:pt idx="4">
                  <c:v>109.96277743170799</c:v>
                </c:pt>
                <c:pt idx="5">
                  <c:v>108.32288564074688</c:v>
                </c:pt>
                <c:pt idx="6">
                  <c:v>106.78743555867653</c:v>
                </c:pt>
                <c:pt idx="7">
                  <c:v>105.34423972549452</c:v>
                </c:pt>
                <c:pt idx="8">
                  <c:v>103.98297223510657</c:v>
                </c:pt>
                <c:pt idx="9">
                  <c:v>102.69484604851212</c:v>
                </c:pt>
                <c:pt idx="10">
                  <c:v>101.47234966198131</c:v>
                </c:pt>
                <c:pt idx="11">
                  <c:v>100</c:v>
                </c:pt>
                <c:pt idx="12">
                  <c:v>98.599275257083889</c:v>
                </c:pt>
                <c:pt idx="13">
                  <c:v>97.26435720558564</c:v>
                </c:pt>
                <c:pt idx="14">
                  <c:v>95.990053573720715</c:v>
                </c:pt>
                <c:pt idx="15">
                  <c:v>94.771717420286507</c:v>
                </c:pt>
                <c:pt idx="16">
                  <c:v>93.605178196506984</c:v>
                </c:pt>
                <c:pt idx="17">
                  <c:v>92.486682662379138</c:v>
                </c:pt>
                <c:pt idx="18">
                  <c:v>91.41284412767159</c:v>
                </c:pt>
                <c:pt idx="19">
                  <c:v>90.380598738933443</c:v>
                </c:pt>
                <c:pt idx="20">
                  <c:v>88.945978262935171</c:v>
                </c:pt>
                <c:pt idx="21">
                  <c:v>87.542808114170484</c:v>
                </c:pt>
                <c:pt idx="22">
                  <c:v>86.170211501978713</c:v>
                </c:pt>
                <c:pt idx="23">
                  <c:v>84.8273420849644</c:v>
                </c:pt>
                <c:pt idx="24">
                  <c:v>83.513382580197927</c:v>
                </c:pt>
                <c:pt idx="25">
                  <c:v>82.227543463829463</c:v>
                </c:pt>
                <c:pt idx="26">
                  <c:v>80.9690617546847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C$2:$C$28</c:f>
              <c:numCache>
                <c:formatCode>General</c:formatCode>
                <c:ptCount val="27"/>
                <c:pt idx="0">
                  <c:v>100.6704841722924</c:v>
                </c:pt>
                <c:pt idx="1">
                  <c:v>100.51775152350982</c:v>
                </c:pt>
                <c:pt idx="2">
                  <c:v>100.39651571972475</c:v>
                </c:pt>
                <c:pt idx="3">
                  <c:v>100.30331021914331</c:v>
                </c:pt>
                <c:pt idx="4">
                  <c:v>100.12938042674197</c:v>
                </c:pt>
                <c:pt idx="5">
                  <c:v>100.0202388773877</c:v>
                </c:pt>
                <c:pt idx="6">
                  <c:v>99.966920050927783</c:v>
                </c:pt>
                <c:pt idx="7">
                  <c:v>99.961862480039059</c:v>
                </c:pt>
                <c:pt idx="8">
                  <c:v>99.998672347174534</c:v>
                </c:pt>
                <c:pt idx="9">
                  <c:v>100.07192787198733</c:v>
                </c:pt>
                <c:pt idx="10">
                  <c:v>100.17701758457649</c:v>
                </c:pt>
                <c:pt idx="11">
                  <c:v>100</c:v>
                </c:pt>
                <c:pt idx="12">
                  <c:v>99.857933381238666</c:v>
                </c:pt>
                <c:pt idx="13">
                  <c:v>99.747590455346426</c:v>
                </c:pt>
                <c:pt idx="14">
                  <c:v>99.666097374334782</c:v>
                </c:pt>
                <c:pt idx="15">
                  <c:v>99.610888827119368</c:v>
                </c:pt>
                <c:pt idx="16">
                  <c:v>99.579669427544857</c:v>
                </c:pt>
                <c:pt idx="17">
                  <c:v>99.570380446159007</c:v>
                </c:pt>
                <c:pt idx="18">
                  <c:v>99.581171096869383</c:v>
                </c:pt>
                <c:pt idx="19">
                  <c:v>99.610373710860387</c:v>
                </c:pt>
                <c:pt idx="20">
                  <c:v>99.164559036053589</c:v>
                </c:pt>
                <c:pt idx="21">
                  <c:v>98.717609208829288</c:v>
                </c:pt>
                <c:pt idx="22">
                  <c:v>98.269727952527788</c:v>
                </c:pt>
                <c:pt idx="23">
                  <c:v>97.821109324794094</c:v>
                </c:pt>
                <c:pt idx="24">
                  <c:v>97.371938042992582</c:v>
                </c:pt>
                <c:pt idx="25">
                  <c:v>96.922389810472268</c:v>
                </c:pt>
                <c:pt idx="26">
                  <c:v>96.4726316418350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D$2:$D$28</c:f>
              <c:numCache>
                <c:formatCode>General</c:formatCode>
                <c:ptCount val="27"/>
                <c:pt idx="0">
                  <c:v>93.960280250361805</c:v>
                </c:pt>
                <c:pt idx="1">
                  <c:v>94.51620513207412</c:v>
                </c:pt>
                <c:pt idx="2">
                  <c:v>95.079726386998772</c:v>
                </c:pt>
                <c:pt idx="3">
                  <c:v>95.649109139246065</c:v>
                </c:pt>
                <c:pt idx="4">
                  <c:v>96.120779919966324</c:v>
                </c:pt>
                <c:pt idx="5">
                  <c:v>96.635254489364712</c:v>
                </c:pt>
                <c:pt idx="6">
                  <c:v>97.185800663849932</c:v>
                </c:pt>
                <c:pt idx="7">
                  <c:v>97.766742070826993</c:v>
                </c:pt>
                <c:pt idx="8">
                  <c:v>98.373286810278969</c:v>
                </c:pt>
                <c:pt idx="9">
                  <c:v>99.0013837523923</c:v>
                </c:pt>
                <c:pt idx="10">
                  <c:v>99.647602306120021</c:v>
                </c:pt>
                <c:pt idx="11">
                  <c:v>100</c:v>
                </c:pt>
                <c:pt idx="12">
                  <c:v>100.37235696273619</c:v>
                </c:pt>
                <c:pt idx="13">
                  <c:v>100.76250974116138</c:v>
                </c:pt>
                <c:pt idx="14">
                  <c:v>101.16853609721912</c:v>
                </c:pt>
                <c:pt idx="15">
                  <c:v>101.58872486513917</c:v>
                </c:pt>
                <c:pt idx="16">
                  <c:v>102.02154984740406</c:v>
                </c:pt>
                <c:pt idx="17">
                  <c:v>102.46564719031646</c:v>
                </c:pt>
                <c:pt idx="18">
                  <c:v>102.91979575721091</c:v>
                </c:pt>
                <c:pt idx="19">
                  <c:v>103.38290008462288</c:v>
                </c:pt>
                <c:pt idx="20">
                  <c:v>103.34138206223629</c:v>
                </c:pt>
                <c:pt idx="21">
                  <c:v>103.2853732723771</c:v>
                </c:pt>
                <c:pt idx="22">
                  <c:v>103.21552017253117</c:v>
                </c:pt>
                <c:pt idx="23">
                  <c:v>103.13244317189931</c:v>
                </c:pt>
                <c:pt idx="24">
                  <c:v>103.03673765326478</c:v>
                </c:pt>
                <c:pt idx="25">
                  <c:v>102.92897495922473</c:v>
                </c:pt>
                <c:pt idx="26">
                  <c:v>102.809703343590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E$2:$E$28</c:f>
              <c:numCache>
                <c:formatCode>General</c:formatCode>
                <c:ptCount val="27"/>
                <c:pt idx="0">
                  <c:v>0.66580575707448886</c:v>
                </c:pt>
                <c:pt idx="1">
                  <c:v>0.67072037829398157</c:v>
                </c:pt>
                <c:pt idx="2">
                  <c:v>0.67549254672450354</c:v>
                </c:pt>
                <c:pt idx="3">
                  <c:v>0.68012836748558214</c:v>
                </c:pt>
                <c:pt idx="4">
                  <c:v>0.68463360174634846</c:v>
                </c:pt>
                <c:pt idx="5">
                  <c:v>0.68901369061098261</c:v>
                </c:pt>
                <c:pt idx="6">
                  <c:v>0.69327377704096915</c:v>
                </c:pt>
                <c:pt idx="7">
                  <c:v>0.69741872599987498</c:v>
                </c:pt>
                <c:pt idx="8">
                  <c:v>0.70145314298654327</c:v>
                </c:pt>
                <c:pt idx="9">
                  <c:v>0.70538139110514142</c:v>
                </c:pt>
                <c:pt idx="10">
                  <c:v>0.70920760680507466</c:v>
                </c:pt>
                <c:pt idx="11">
                  <c:v>0.7129357144101377</c:v>
                </c:pt>
                <c:pt idx="12">
                  <c:v>0.71656943954418661</c:v>
                </c:pt>
                <c:pt idx="13">
                  <c:v>0.72011232154988436</c:v>
                </c:pt>
                <c:pt idx="14">
                  <c:v>0.72356772498754007</c:v>
                </c:pt>
                <c:pt idx="15">
                  <c:v>0.7269388502925701</c:v>
                </c:pt>
                <c:pt idx="16">
                  <c:v>0.73022874366253909</c:v>
                </c:pt>
                <c:pt idx="17">
                  <c:v>0.73344030623798517</c:v>
                </c:pt>
                <c:pt idx="18">
                  <c:v>0.73657630263518525</c:v>
                </c:pt>
                <c:pt idx="19">
                  <c:v>0.73963936888361337</c:v>
                </c:pt>
                <c:pt idx="20">
                  <c:v>0.74263201981598559</c:v>
                </c:pt>
                <c:pt idx="21">
                  <c:v>0.74555665595444032</c:v>
                </c:pt>
                <c:pt idx="22">
                  <c:v>0.74841556993248026</c:v>
                </c:pt>
                <c:pt idx="23">
                  <c:v>0.75121095248878611</c:v>
                </c:pt>
                <c:pt idx="24">
                  <c:v>0.75394489806583254</c:v>
                </c:pt>
                <c:pt idx="25">
                  <c:v>0.75661941004337763</c:v>
                </c:pt>
                <c:pt idx="26">
                  <c:v>0.7592364056343090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Hawaiian Tropic Ozono Lotion FPS50+ 240ml (4.4%)</c:v>
                </c:pt>
                <c:pt idx="5">
                  <c:v>Banana Boat Aqua Protect Kids Cream FPS50+ 236ml (1.9%)</c:v>
                </c:pt>
                <c:pt idx="6">
                  <c:v>Hawaiian Tropic Island Sport Lotion FPS50 240ml (3.6%)</c:v>
                </c:pt>
                <c:pt idx="7">
                  <c:v>Nivea Sun Protection Sensitive Skin Gel FPS50+ 200ml (5.1%)</c:v>
                </c:pt>
                <c:pt idx="8">
                  <c:v>Hawaiian Tropic Sheer Touch Lotion FPS50+ 240ml (4.4%)</c:v>
                </c:pt>
                <c:pt idx="9">
                  <c:v>Banana Boat Advanced Protection Lotion FPS50+ 240ml (2.8%)</c:v>
                </c:pt>
              </c:strCache>
            </c:strRef>
          </c:cat>
          <c:val>
            <c:numRef>
              <c:f>Sheet1!$B$2:$B$11</c:f>
              <c:numCache>
                <c:formatCode>General</c:formatCode>
                <c:ptCount val="10"/>
                <c:pt idx="0">
                  <c:v>9.4827432810885848E-2</c:v>
                </c:pt>
                <c:pt idx="1">
                  <c:v>9.3942490010644447E-2</c:v>
                </c:pt>
                <c:pt idx="2">
                  <c:v>6.7274777274022243E-2</c:v>
                </c:pt>
                <c:pt idx="3">
                  <c:v>6.2534587949070561E-2</c:v>
                </c:pt>
                <c:pt idx="4">
                  <c:v>5.2868708473543739E-2</c:v>
                </c:pt>
                <c:pt idx="5">
                  <c:v>4.4660987913475253E-2</c:v>
                </c:pt>
                <c:pt idx="6">
                  <c:v>4.0326690964640012E-2</c:v>
                </c:pt>
                <c:pt idx="7">
                  <c:v>3.619516806174685E-2</c:v>
                </c:pt>
                <c:pt idx="8">
                  <c:v>3.4977004051623649E-2</c:v>
                </c:pt>
                <c:pt idx="9">
                  <c:v>3.489477571079609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2586890888578873</c:v>
                </c:pt>
                <c:pt idx="1">
                  <c:v>0.2230861038806034</c:v>
                </c:pt>
                <c:pt idx="2">
                  <c:v>0.13594387462881005</c:v>
                </c:pt>
                <c:pt idx="3">
                  <c:v>0.1178045931594837</c:v>
                </c:pt>
                <c:pt idx="4">
                  <c:v>4.5502259395599744E-2</c:v>
                </c:pt>
                <c:pt idx="5">
                  <c:v>4.4550305517150092E-2</c:v>
                </c:pt>
                <c:pt idx="6">
                  <c:v>3.4967669082201627E-2</c:v>
                </c:pt>
                <c:pt idx="7">
                  <c:v>2.0832042089677937E-2</c:v>
                </c:pt>
                <c:pt idx="8">
                  <c:v>1.7665664356039643E-2</c:v>
                </c:pt>
                <c:pt idx="9">
                  <c:v>1.290958064473733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Banana Boat Aqua Protect Cream FPS50+ 236ml (2.7%)</c:v>
                </c:pt>
                <c:pt idx="5">
                  <c:v>Hawaiian Tropic Island Sport Lotion FPS50 240ml (3.6%)</c:v>
                </c:pt>
                <c:pt idx="6">
                  <c:v>Hawaiian Tropic Sheer Touch Lotion FPS50+ 240ml (4.4%)</c:v>
                </c:pt>
                <c:pt idx="7">
                  <c:v>Banana Boat Dry Balance Sport Spray FPS50 170ml (1.2%)</c:v>
                </c:pt>
                <c:pt idx="8">
                  <c:v>Nivea Sun Protection Sensitive Skin Gel FPS50+ 200ml (5.1%)</c:v>
                </c:pt>
                <c:pt idx="9">
                  <c:v>Banana Boat Aqua Protect Kids Cream FPS50+ 236ml (1.9%)</c:v>
                </c:pt>
              </c:strCache>
            </c:strRef>
          </c:cat>
          <c:val>
            <c:numRef>
              <c:f>Sheet1!$B$2:$B$11</c:f>
              <c:numCache>
                <c:formatCode>General</c:formatCode>
                <c:ptCount val="10"/>
                <c:pt idx="0">
                  <c:v>7.5995728208662669E-2</c:v>
                </c:pt>
                <c:pt idx="1">
                  <c:v>6.9746597601019575E-2</c:v>
                </c:pt>
                <c:pt idx="2">
                  <c:v>6.7645482134200907E-2</c:v>
                </c:pt>
                <c:pt idx="3">
                  <c:v>5.2888348219772861E-2</c:v>
                </c:pt>
                <c:pt idx="4">
                  <c:v>4.4856347890915076E-2</c:v>
                </c:pt>
                <c:pt idx="5">
                  <c:v>3.6718319747893947E-2</c:v>
                </c:pt>
                <c:pt idx="6">
                  <c:v>3.3491329130179402E-2</c:v>
                </c:pt>
                <c:pt idx="7">
                  <c:v>3.2559107697184259E-2</c:v>
                </c:pt>
                <c:pt idx="8">
                  <c:v>3.0311035980201864E-2</c:v>
                </c:pt>
                <c:pt idx="9">
                  <c:v>3.025185751395090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23580282019276613</c:v>
                </c:pt>
                <c:pt idx="1">
                  <c:v>0.13930104008872493</c:v>
                </c:pt>
                <c:pt idx="2">
                  <c:v>0</c:v>
                </c:pt>
                <c:pt idx="3">
                  <c:v>-9.9425188120293523E-2</c:v>
                </c:pt>
                <c:pt idx="4">
                  <c:v>-0.2020730124285783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3.58028201927664</c:v>
                </c:pt>
                <c:pt idx="1">
                  <c:v>121.58631875973678</c:v>
                </c:pt>
                <c:pt idx="2">
                  <c:v>117.5026208989475</c:v>
                </c:pt>
                <c:pt idx="3">
                  <c:v>113.93010400887256</c:v>
                </c:pt>
                <c:pt idx="4">
                  <c:v>110.76519728341907</c:v>
                </c:pt>
                <c:pt idx="5">
                  <c:v>107.92965499997035</c:v>
                </c:pt>
                <c:pt idx="6">
                  <c:v>106.22783854330487</c:v>
                </c:pt>
                <c:pt idx="7">
                  <c:v>104.59519910822543</c:v>
                </c:pt>
                <c:pt idx="8">
                  <c:v>103.02650559024269</c:v>
                </c:pt>
                <c:pt idx="9">
                  <c:v>101.47028639886355</c:v>
                </c:pt>
                <c:pt idx="10">
                  <c:v>100</c:v>
                </c:pt>
                <c:pt idx="11">
                  <c:v>98.60676064292791</c:v>
                </c:pt>
                <c:pt idx="12">
                  <c:v>97.282920311874733</c:v>
                </c:pt>
                <c:pt idx="13">
                  <c:v>96.021868607631944</c:v>
                </c:pt>
                <c:pt idx="14">
                  <c:v>94.81786753697385</c:v>
                </c:pt>
                <c:pt idx="15">
                  <c:v>93.665914930108727</c:v>
                </c:pt>
                <c:pt idx="16">
                  <c:v>91.816001909042683</c:v>
                </c:pt>
                <c:pt idx="17">
                  <c:v>90.057481187970694</c:v>
                </c:pt>
                <c:pt idx="18">
                  <c:v>88.383285969473818</c:v>
                </c:pt>
                <c:pt idx="19">
                  <c:v>86.787057313746772</c:v>
                </c:pt>
                <c:pt idx="20">
                  <c:v>85.263060169480326</c:v>
                </c:pt>
                <c:pt idx="21">
                  <c:v>83.806110519923749</c:v>
                </c:pt>
                <c:pt idx="22">
                  <c:v>82.411512076817644</c:v>
                </c:pt>
                <c:pt idx="23">
                  <c:v>81.07500118030741</c:v>
                </c:pt>
                <c:pt idx="24">
                  <c:v>79.7926987571422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6.50709307608696</c:v>
                </c:pt>
                <c:pt idx="1">
                  <c:v>106.46858817241285</c:v>
                </c:pt>
                <c:pt idx="2">
                  <c:v>104.51495725040625</c:v>
                </c:pt>
                <c:pt idx="3">
                  <c:v>102.91059903733604</c:v>
                </c:pt>
                <c:pt idx="4">
                  <c:v>101.58161795698612</c:v>
                </c:pt>
                <c:pt idx="5">
                  <c:v>100.47199867837382</c:v>
                </c:pt>
                <c:pt idx="6">
                  <c:v>100.35544363126156</c:v>
                </c:pt>
                <c:pt idx="7">
                  <c:v>100.25816726351269</c:v>
                </c:pt>
                <c:pt idx="8">
                  <c:v>100.17794761358746</c:v>
                </c:pt>
                <c:pt idx="9">
                  <c:v>100.06751930569777</c:v>
                </c:pt>
                <c:pt idx="10">
                  <c:v>100</c:v>
                </c:pt>
                <c:pt idx="11">
                  <c:v>99.969938851813794</c:v>
                </c:pt>
                <c:pt idx="12">
                  <c:v>99.972666898923606</c:v>
                </c:pt>
                <c:pt idx="13">
                  <c:v>100.00417393597898</c:v>
                </c:pt>
                <c:pt idx="14">
                  <c:v>100.06100568490832</c:v>
                </c:pt>
                <c:pt idx="15">
                  <c:v>100.1401779123936</c:v>
                </c:pt>
                <c:pt idx="16">
                  <c:v>99.429350452389002</c:v>
                </c:pt>
                <c:pt idx="17">
                  <c:v>98.767798089232144</c:v>
                </c:pt>
                <c:pt idx="18">
                  <c:v>98.151442416975939</c:v>
                </c:pt>
                <c:pt idx="19">
                  <c:v>97.576612795547391</c:v>
                </c:pt>
                <c:pt idx="20">
                  <c:v>97.039999317671786</c:v>
                </c:pt>
                <c:pt idx="21">
                  <c:v>96.538611679573663</c:v>
                </c:pt>
                <c:pt idx="22">
                  <c:v>96.069743192394625</c:v>
                </c:pt>
                <c:pt idx="23">
                  <c:v>95.630939266042532</c:v>
                </c:pt>
                <c:pt idx="24">
                  <c:v>95.2199697823081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7.112760909951078</c:v>
                </c:pt>
                <c:pt idx="1">
                  <c:v>98.149896984223361</c:v>
                </c:pt>
                <c:pt idx="2">
                  <c:v>97.369939223669562</c:v>
                </c:pt>
                <c:pt idx="3">
                  <c:v>96.849602423186823</c:v>
                </c:pt>
                <c:pt idx="4">
                  <c:v>96.531469300081767</c:v>
                </c:pt>
                <c:pt idx="5">
                  <c:v>96.371862869392615</c:v>
                </c:pt>
                <c:pt idx="6">
                  <c:v>97.127397880434657</c:v>
                </c:pt>
                <c:pt idx="7">
                  <c:v>97.874768643681136</c:v>
                </c:pt>
                <c:pt idx="8">
                  <c:v>98.613412875169431</c:v>
                </c:pt>
                <c:pt idx="9">
                  <c:v>99.297070005966532</c:v>
                </c:pt>
                <c:pt idx="10">
                  <c:v>100</c:v>
                </c:pt>
                <c:pt idx="11">
                  <c:v>100.718648135167</c:v>
                </c:pt>
                <c:pt idx="12">
                  <c:v>101.44998920807566</c:v>
                </c:pt>
                <c:pt idx="13">
                  <c:v>102.19144710220019</c:v>
                </c:pt>
                <c:pt idx="14">
                  <c:v>102.94082653842555</c:v>
                </c:pt>
                <c:pt idx="15">
                  <c:v>103.69625528914035</c:v>
                </c:pt>
                <c:pt idx="16">
                  <c:v>103.61468983397745</c:v>
                </c:pt>
                <c:pt idx="17">
                  <c:v>103.55897812432204</c:v>
                </c:pt>
                <c:pt idx="18">
                  <c:v>103.52671467110892</c:v>
                </c:pt>
                <c:pt idx="19">
                  <c:v>103.51573288027909</c:v>
                </c:pt>
                <c:pt idx="20">
                  <c:v>103.52407890165478</c:v>
                </c:pt>
                <c:pt idx="21">
                  <c:v>103.54998842128347</c:v>
                </c:pt>
                <c:pt idx="22">
                  <c:v>103.59186609353071</c:v>
                </c:pt>
                <c:pt idx="23">
                  <c:v>103.64826732884025</c:v>
                </c:pt>
                <c:pt idx="24">
                  <c:v>103.71788217558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5</c:v>
                </c:pt>
                <c:pt idx="1">
                  <c:v>0.59827451430912437</c:v>
                </c:pt>
                <c:pt idx="2">
                  <c:v>0.6045514750230444</c:v>
                </c:pt>
                <c:pt idx="3">
                  <c:v>0.61063529848422826</c:v>
                </c:pt>
                <c:pt idx="4">
                  <c:v>0.61653476365870974</c:v>
                </c:pt>
                <c:pt idx="5">
                  <c:v>0.6222581253951468</c:v>
                </c:pt>
                <c:pt idx="6">
                  <c:v>0.62781315296286522</c:v>
                </c:pt>
                <c:pt idx="7">
                  <c:v>0.63320716523876575</c:v>
                </c:pt>
                <c:pt idx="8">
                  <c:v>0.63844706287821185</c:v>
                </c:pt>
                <c:pt idx="9">
                  <c:v>0.64353935776725124</c:v>
                </c:pt>
                <c:pt idx="10">
                  <c:v>0.64849020002048385</c:v>
                </c:pt>
                <c:pt idx="11">
                  <c:v>0.65330540275992932</c:v>
                </c:pt>
                <c:pt idx="12">
                  <c:v>0.65799046488479507</c:v>
                </c:pt>
                <c:pt idx="13">
                  <c:v>0.66255059201966449</c:v>
                </c:pt>
                <c:pt idx="14">
                  <c:v>0.66699071580887948</c:v>
                </c:pt>
                <c:pt idx="15">
                  <c:v>0.6713155117074654</c:v>
                </c:pt>
                <c:pt idx="16">
                  <c:v>0.67552941540352351</c:v>
                </c:pt>
                <c:pt idx="17">
                  <c:v>0.67963663799335228</c:v>
                </c:pt>
                <c:pt idx="18">
                  <c:v>0.68364118001843543</c:v>
                </c:pt>
                <c:pt idx="19">
                  <c:v>0.68754684446265235</c:v>
                </c:pt>
                <c:pt idx="20">
                  <c:v>0.6913572487984736</c:v>
                </c:pt>
                <c:pt idx="21">
                  <c:v>0.69507583616234747</c:v>
                </c:pt>
                <c:pt idx="22">
                  <c:v>0.69870588573184322</c:v>
                </c:pt>
                <c:pt idx="23">
                  <c:v>0.70225052237029217</c:v>
                </c:pt>
                <c:pt idx="24">
                  <c:v>0.705712725598544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qua Protect Cream FPS50+ 236ml (2.7%)</c:v>
                </c:pt>
                <c:pt idx="3">
                  <c:v>Nivea Sun Protect &amp; Refresh Sport Lotion FPS50 200ml (5.8%)</c:v>
                </c:pt>
                <c:pt idx="4">
                  <c:v>Hawaiian Tropic Ozono Lotion FPS50+ 240ml (4.4%)</c:v>
                </c:pt>
                <c:pt idx="5">
                  <c:v>Hawaiian Tropic Island Sport Lotion FPS50 240ml (3.6%)</c:v>
                </c:pt>
                <c:pt idx="6">
                  <c:v>Nivea Sun Protection Sensitive Skin Gel FPS50+ 200ml (5.1%)</c:v>
                </c:pt>
                <c:pt idx="7">
                  <c:v>Banana Boat Advanced Protection Lotion FPS50+ 240ml (2.8%)</c:v>
                </c:pt>
                <c:pt idx="8">
                  <c:v>Hawaiian Tropic Sheer Touch Lotion FPS50+ 240ml (4.4%)</c:v>
                </c:pt>
                <c:pt idx="9">
                  <c:v>Nivea Sun Protection &amp; Hydration Lotion FPS50+ 125ml (4.5%)</c:v>
                </c:pt>
              </c:strCache>
            </c:strRef>
          </c:cat>
          <c:val>
            <c:numRef>
              <c:f>Sheet1!$B$2:$B$11</c:f>
              <c:numCache>
                <c:formatCode>General</c:formatCode>
                <c:ptCount val="10"/>
                <c:pt idx="0">
                  <c:v>8.4766929904158031E-2</c:v>
                </c:pt>
                <c:pt idx="1">
                  <c:v>5.8413533073621252E-2</c:v>
                </c:pt>
                <c:pt idx="2">
                  <c:v>5.7940451598839024E-2</c:v>
                </c:pt>
                <c:pt idx="3">
                  <c:v>5.2749366752639484E-2</c:v>
                </c:pt>
                <c:pt idx="4">
                  <c:v>4.8640931710254826E-2</c:v>
                </c:pt>
                <c:pt idx="5">
                  <c:v>4.365702138727362E-2</c:v>
                </c:pt>
                <c:pt idx="6">
                  <c:v>4.1587960980926722E-2</c:v>
                </c:pt>
                <c:pt idx="7">
                  <c:v>4.0800767715287657E-2</c:v>
                </c:pt>
                <c:pt idx="8">
                  <c:v>4.0465583355207314E-2</c:v>
                </c:pt>
                <c:pt idx="9">
                  <c:v>3.719181081353663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qua Protect Cream FPS50+ 236ml (2.7%)</c:v>
                </c:pt>
                <c:pt idx="3">
                  <c:v>Nivea Sun Protect &amp; Refresh Sport Lotion FPS50 200ml (5.8%)</c:v>
                </c:pt>
                <c:pt idx="4">
                  <c:v>Hawaiian Tropic Island Sport Lotion FPS50 240ml (3.6%)</c:v>
                </c:pt>
                <c:pt idx="5">
                  <c:v>Hawaiian Tropic Sheer Touch Lotion FPS50+ 240ml (4.4%)</c:v>
                </c:pt>
                <c:pt idx="6">
                  <c:v>Banana Boat Aqua Protect Sport Lotion FPS50+ 236ml (3.1%)</c:v>
                </c:pt>
                <c:pt idx="7">
                  <c:v>Nivea Sun Protection Sensitive Skin Gel FPS50+ 200ml (5.1%)</c:v>
                </c:pt>
                <c:pt idx="8">
                  <c:v>Banana Boat Advanced Protection Lotion FPS50+ 240ml (2.8%)</c:v>
                </c:pt>
                <c:pt idx="9">
                  <c:v>Nivea Sun Protection &amp; Hydration Lotion FPS50+ 125ml (4.5%)</c:v>
                </c:pt>
              </c:strCache>
            </c:strRef>
          </c:cat>
          <c:val>
            <c:numRef>
              <c:f>Sheet1!$B$2:$B$11</c:f>
              <c:numCache>
                <c:formatCode>General</c:formatCode>
                <c:ptCount val="10"/>
                <c:pt idx="0">
                  <c:v>8.6340644348735951E-2</c:v>
                </c:pt>
                <c:pt idx="1">
                  <c:v>5.3774762673373402E-2</c:v>
                </c:pt>
                <c:pt idx="2">
                  <c:v>5.3428308438748892E-2</c:v>
                </c:pt>
                <c:pt idx="3">
                  <c:v>5.3105172562808979E-2</c:v>
                </c:pt>
                <c:pt idx="4">
                  <c:v>5.2387807667733065E-2</c:v>
                </c:pt>
                <c:pt idx="5">
                  <c:v>4.9144909467441301E-2</c:v>
                </c:pt>
                <c:pt idx="6">
                  <c:v>4.7971656477293241E-2</c:v>
                </c:pt>
                <c:pt idx="7">
                  <c:v>4.2792741365349697E-2</c:v>
                </c:pt>
                <c:pt idx="8">
                  <c:v>3.9508521507805247E-2</c:v>
                </c:pt>
                <c:pt idx="9">
                  <c:v>3.196337671716034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ray FPS50+ 17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29973649000002878</c:v>
                </c:pt>
                <c:pt idx="1">
                  <c:v>0.20917087299459919</c:v>
                </c:pt>
                <c:pt idx="2">
                  <c:v>0</c:v>
                </c:pt>
                <c:pt idx="3">
                  <c:v>-9.8649240808513172E-2</c:v>
                </c:pt>
                <c:pt idx="4">
                  <c:v>-0.2163342441266702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Cream FPS50+ 236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5</c:v>
                </c:pt>
                <c:pt idx="2">
                  <c:v>305</c:v>
                </c:pt>
                <c:pt idx="3">
                  <c:v>335</c:v>
                </c:pt>
                <c:pt idx="4">
                  <c:v>370</c:v>
                </c:pt>
              </c:numCache>
            </c:numRef>
          </c:xVal>
          <c:yVal>
            <c:numRef>
              <c:f>Sheet1!$B$9:$B$13</c:f>
              <c:numCache>
                <c:formatCode>General</c:formatCode>
                <c:ptCount val="5"/>
                <c:pt idx="0">
                  <c:v>0.62738347404591965</c:v>
                </c:pt>
                <c:pt idx="1">
                  <c:v>0.41471970976056344</c:v>
                </c:pt>
                <c:pt idx="2">
                  <c:v>0</c:v>
                </c:pt>
                <c:pt idx="3">
                  <c:v>-0.22625675986954702</c:v>
                </c:pt>
                <c:pt idx="4">
                  <c:v>-0.36769432856477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97364900000287</c:v>
                </c:pt>
                <c:pt idx="1">
                  <c:v>126.48275338475068</c:v>
                </c:pt>
                <c:pt idx="2">
                  <c:v>123.50869219836065</c:v>
                </c:pt>
                <c:pt idx="3">
                  <c:v>120.91708729945991</c:v>
                </c:pt>
                <c:pt idx="4">
                  <c:v>116.18545459825451</c:v>
                </c:pt>
                <c:pt idx="5">
                  <c:v>112.08959893282974</c:v>
                </c:pt>
                <c:pt idx="6">
                  <c:v>108.49611987219996</c:v>
                </c:pt>
                <c:pt idx="7">
                  <c:v>105.30463959302803</c:v>
                </c:pt>
                <c:pt idx="8">
                  <c:v>103.45654434549832</c:v>
                </c:pt>
                <c:pt idx="9">
                  <c:v>101.69057922325102</c:v>
                </c:pt>
                <c:pt idx="10">
                  <c:v>100</c:v>
                </c:pt>
                <c:pt idx="11">
                  <c:v>98.347533737388176</c:v>
                </c:pt>
                <c:pt idx="12">
                  <c:v>96.791763670651022</c:v>
                </c:pt>
                <c:pt idx="13">
                  <c:v>95.321833900172663</c:v>
                </c:pt>
                <c:pt idx="14">
                  <c:v>93.928523647591419</c:v>
                </c:pt>
                <c:pt idx="15">
                  <c:v>92.603966118533251</c:v>
                </c:pt>
                <c:pt idx="16">
                  <c:v>91.341418850956728</c:v>
                </c:pt>
                <c:pt idx="17">
                  <c:v>90.135075919148704</c:v>
                </c:pt>
                <c:pt idx="18">
                  <c:v>88.575400328903683</c:v>
                </c:pt>
                <c:pt idx="19">
                  <c:v>87.090913919234296</c:v>
                </c:pt>
                <c:pt idx="20">
                  <c:v>85.675535922619275</c:v>
                </c:pt>
                <c:pt idx="21">
                  <c:v>84.323836717927009</c:v>
                </c:pt>
                <c:pt idx="22">
                  <c:v>83.03095519814363</c:v>
                </c:pt>
                <c:pt idx="23">
                  <c:v>81.792527837999344</c:v>
                </c:pt>
                <c:pt idx="24">
                  <c:v>80.604627680242842</c:v>
                </c:pt>
                <c:pt idx="25">
                  <c:v>79.463711742863268</c:v>
                </c:pt>
                <c:pt idx="26">
                  <c:v>78.366575587332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1.50839224786483</c:v>
                </c:pt>
                <c:pt idx="1">
                  <c:v>110.30895603612645</c:v>
                </c:pt>
                <c:pt idx="2">
                  <c:v>109.46867844045242</c:v>
                </c:pt>
                <c:pt idx="3">
                  <c:v>108.88848171916501</c:v>
                </c:pt>
                <c:pt idx="4">
                  <c:v>106.27899180042353</c:v>
                </c:pt>
                <c:pt idx="5">
                  <c:v>104.12559419153527</c:v>
                </c:pt>
                <c:pt idx="6">
                  <c:v>102.32958528782987</c:v>
                </c:pt>
                <c:pt idx="7">
                  <c:v>100.81629077564607</c:v>
                </c:pt>
                <c:pt idx="8">
                  <c:v>100.51682386049896</c:v>
                </c:pt>
                <c:pt idx="9">
                  <c:v>100.24580919169746</c:v>
                </c:pt>
                <c:pt idx="10">
                  <c:v>100</c:v>
                </c:pt>
                <c:pt idx="11">
                  <c:v>99.74576321501371</c:v>
                </c:pt>
                <c:pt idx="12">
                  <c:v>99.543953107127351</c:v>
                </c:pt>
                <c:pt idx="13">
                  <c:v>99.387374604938273</c:v>
                </c:pt>
                <c:pt idx="14">
                  <c:v>99.269943801251515</c:v>
                </c:pt>
                <c:pt idx="15">
                  <c:v>99.186502940609273</c:v>
                </c:pt>
                <c:pt idx="16">
                  <c:v>99.132667336721795</c:v>
                </c:pt>
                <c:pt idx="17">
                  <c:v>99.104698745815128</c:v>
                </c:pt>
                <c:pt idx="18">
                  <c:v>98.64723823383919</c:v>
                </c:pt>
                <c:pt idx="19">
                  <c:v>98.230350414264777</c:v>
                </c:pt>
                <c:pt idx="20">
                  <c:v>97.850284316275065</c:v>
                </c:pt>
                <c:pt idx="21">
                  <c:v>97.503697854398325</c:v>
                </c:pt>
                <c:pt idx="22">
                  <c:v>97.187607119256796</c:v>
                </c:pt>
                <c:pt idx="23">
                  <c:v>96.899342528432015</c:v>
                </c:pt>
                <c:pt idx="24">
                  <c:v>96.636510857133672</c:v>
                </c:pt>
                <c:pt idx="25">
                  <c:v>96.396962311607993</c:v>
                </c:pt>
                <c:pt idx="26">
                  <c:v>96.1787619311613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4.36503360733845</c:v>
                </c:pt>
                <c:pt idx="1">
                  <c:v>104.0540273380448</c:v>
                </c:pt>
                <c:pt idx="2">
                  <c:v>104.04082854757566</c:v>
                </c:pt>
                <c:pt idx="3">
                  <c:v>104.24014205083398</c:v>
                </c:pt>
                <c:pt idx="4">
                  <c:v>102.45029222994164</c:v>
                </c:pt>
                <c:pt idx="5">
                  <c:v>101.0471320532979</c:v>
                </c:pt>
                <c:pt idx="6">
                  <c:v>99.945354615456239</c:v>
                </c:pt>
                <c:pt idx="7">
                  <c:v>99.080210175644481</c:v>
                </c:pt>
                <c:pt idx="8">
                  <c:v>99.379750511699115</c:v>
                </c:pt>
                <c:pt idx="9">
                  <c:v>99.686976991243597</c:v>
                </c:pt>
                <c:pt idx="10">
                  <c:v>100</c:v>
                </c:pt>
                <c:pt idx="11">
                  <c:v>100.28526818254304</c:v>
                </c:pt>
                <c:pt idx="12">
                  <c:v>100.60592610756058</c:v>
                </c:pt>
                <c:pt idx="13">
                  <c:v>100.95619179114692</c:v>
                </c:pt>
                <c:pt idx="14">
                  <c:v>101.33119166529664</c:v>
                </c:pt>
                <c:pt idx="15">
                  <c:v>101.72681282788731</c:v>
                </c:pt>
                <c:pt idx="16">
                  <c:v>102.13957962941278</c:v>
                </c:pt>
                <c:pt idx="17">
                  <c:v>102.56655073925948</c:v>
                </c:pt>
                <c:pt idx="18">
                  <c:v>102.53695870770471</c:v>
                </c:pt>
                <c:pt idx="19">
                  <c:v>102.53442852639859</c:v>
                </c:pt>
                <c:pt idx="20">
                  <c:v>102.55612567972237</c:v>
                </c:pt>
                <c:pt idx="21">
                  <c:v>102.5995286871314</c:v>
                </c:pt>
                <c:pt idx="22">
                  <c:v>102.66239108116413</c:v>
                </c:pt>
                <c:pt idx="23">
                  <c:v>102.74270831355253</c:v>
                </c:pt>
                <c:pt idx="24">
                  <c:v>102.8386889304974</c:v>
                </c:pt>
                <c:pt idx="25">
                  <c:v>102.94872944475708</c:v>
                </c:pt>
                <c:pt idx="26">
                  <c:v>103.071392408855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7923126655540766</c:v>
                </c:pt>
                <c:pt idx="1">
                  <c:v>0.68448977038236825</c:v>
                </c:pt>
                <c:pt idx="2">
                  <c:v>0.68957864505362032</c:v>
                </c:pt>
                <c:pt idx="3">
                  <c:v>0.69450596814800725</c:v>
                </c:pt>
                <c:pt idx="4">
                  <c:v>0.69927931239569474</c:v>
                </c:pt>
                <c:pt idx="5">
                  <c:v>0.70390578451268404</c:v>
                </c:pt>
                <c:pt idx="6">
                  <c:v>0.70839206050491621</c:v>
                </c:pt>
                <c:pt idx="7">
                  <c:v>0.71274441781081299</c:v>
                </c:pt>
                <c:pt idx="8">
                  <c:v>0.71696876460771275</c:v>
                </c:pt>
                <c:pt idx="9">
                  <c:v>0.72107066656991969</c:v>
                </c:pt>
                <c:pt idx="10">
                  <c:v>0.72505537133320663</c:v>
                </c:pt>
                <c:pt idx="11">
                  <c:v>0.72892783089189384</c:v>
                </c:pt>
                <c:pt idx="12">
                  <c:v>0.73269272212950642</c:v>
                </c:pt>
                <c:pt idx="13">
                  <c:v>0.73635446566197893</c:v>
                </c:pt>
                <c:pt idx="14">
                  <c:v>0.7399172431530332</c:v>
                </c:pt>
                <c:pt idx="15">
                  <c:v>0.74338501324432615</c:v>
                </c:pt>
                <c:pt idx="16">
                  <c:v>0.74676152622795355</c:v>
                </c:pt>
                <c:pt idx="17">
                  <c:v>0.75005033757564243</c:v>
                </c:pt>
                <c:pt idx="18">
                  <c:v>0.75325482042723668</c:v>
                </c:pt>
                <c:pt idx="19">
                  <c:v>0.75637817713068944</c:v>
                </c:pt>
                <c:pt idx="20">
                  <c:v>0.75942344991655575</c:v>
                </c:pt>
                <c:pt idx="21">
                  <c:v>0.7623935307817834</c:v>
                </c:pt>
                <c:pt idx="22">
                  <c:v>0.76529117065029828</c:v>
                </c:pt>
                <c:pt idx="23">
                  <c:v>0.76811898787137911</c:v>
                </c:pt>
                <c:pt idx="24">
                  <c:v>0.77087947611100549</c:v>
                </c:pt>
                <c:pt idx="25">
                  <c:v>0.77357501168617016</c:v>
                </c:pt>
                <c:pt idx="26">
                  <c:v>0.7762078603874937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Nivea Sun Protection &amp; Hydration Lotion FPS50+ 125ml (4.5%)</c:v>
                </c:pt>
                <c:pt idx="5">
                  <c:v>Nivea Sun Protection Sensitive Skin Gel FPS50+ 200ml (5.1%)</c:v>
                </c:pt>
                <c:pt idx="6">
                  <c:v>Hawaiian Tropic Sheer Touch Lotion FPS50+ 240ml (4.4%)</c:v>
                </c:pt>
                <c:pt idx="7">
                  <c:v>Banana Boat Aqua Protect Cream FPS50+ 236ml (2.7%)</c:v>
                </c:pt>
                <c:pt idx="8">
                  <c:v>Equate Sport Lotion FPS30 237ml (2.0%)</c:v>
                </c:pt>
                <c:pt idx="9">
                  <c:v>Banana Boat Aqua Protect Kids Cream FPS50+ 236ml (1.9%)</c:v>
                </c:pt>
              </c:strCache>
            </c:strRef>
          </c:cat>
          <c:val>
            <c:numRef>
              <c:f>Sheet1!$B$2:$B$11</c:f>
              <c:numCache>
                <c:formatCode>General</c:formatCode>
                <c:ptCount val="10"/>
                <c:pt idx="0">
                  <c:v>8.7917239478481984E-2</c:v>
                </c:pt>
                <c:pt idx="1">
                  <c:v>6.5401408450650678E-2</c:v>
                </c:pt>
                <c:pt idx="2">
                  <c:v>6.2350071983045895E-2</c:v>
                </c:pt>
                <c:pt idx="3">
                  <c:v>5.1755072908746723E-2</c:v>
                </c:pt>
                <c:pt idx="4">
                  <c:v>4.6578497042520282E-2</c:v>
                </c:pt>
                <c:pt idx="5">
                  <c:v>4.3049480899478659E-2</c:v>
                </c:pt>
                <c:pt idx="6">
                  <c:v>3.9618329551060226E-2</c:v>
                </c:pt>
                <c:pt idx="7">
                  <c:v>3.5995121893183699E-2</c:v>
                </c:pt>
                <c:pt idx="8">
                  <c:v>3.5345681510764448E-2</c:v>
                </c:pt>
                <c:pt idx="9">
                  <c:v>3.381895550200596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Nivea Sun Protection Sensitive Skin Gel FPS50+ 200ml (5.1%)</c:v>
                </c:pt>
                <c:pt idx="6">
                  <c:v>Nivea Sun Protection &amp; Hydration Lotion FPS50+ 125ml (4.5%)</c:v>
                </c:pt>
                <c:pt idx="7">
                  <c:v>Hawaiian Tropic Island Sport Lotion FPS50 240ml (3.6%)</c:v>
                </c:pt>
                <c:pt idx="8">
                  <c:v>Banana Boat Aqua Protect Kids Cream FPS50+ 236ml (1.9%)</c:v>
                </c:pt>
                <c:pt idx="9">
                  <c:v>Banana Boat Aqua Protect Cream FPS50+ 236ml (2.7%)</c:v>
                </c:pt>
              </c:strCache>
            </c:strRef>
          </c:cat>
          <c:val>
            <c:numRef>
              <c:f>Sheet1!$B$2:$B$11</c:f>
              <c:numCache>
                <c:formatCode>General</c:formatCode>
                <c:ptCount val="10"/>
                <c:pt idx="0">
                  <c:v>9.36727097371996E-2</c:v>
                </c:pt>
                <c:pt idx="1">
                  <c:v>6.4917305972629444E-2</c:v>
                </c:pt>
                <c:pt idx="2">
                  <c:v>6.227878497062303E-2</c:v>
                </c:pt>
                <c:pt idx="3">
                  <c:v>5.9194937043228001E-2</c:v>
                </c:pt>
                <c:pt idx="4">
                  <c:v>4.9719727999568301E-2</c:v>
                </c:pt>
                <c:pt idx="5">
                  <c:v>4.6185044635371882E-2</c:v>
                </c:pt>
                <c:pt idx="6">
                  <c:v>3.7123535229069519E-2</c:v>
                </c:pt>
                <c:pt idx="7">
                  <c:v>3.6396442299312055E-2</c:v>
                </c:pt>
                <c:pt idx="8">
                  <c:v>3.3464308858378325E-2</c:v>
                </c:pt>
                <c:pt idx="9">
                  <c:v>3.327649557413923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62.73834740459196</c:v>
                </c:pt>
                <c:pt idx="1">
                  <c:v>154.75971416637969</c:v>
                </c:pt>
                <c:pt idx="2">
                  <c:v>147.72183011989631</c:v>
                </c:pt>
                <c:pt idx="3">
                  <c:v>141.47197097605621</c:v>
                </c:pt>
                <c:pt idx="4">
                  <c:v>139.71752911790225</c:v>
                </c:pt>
                <c:pt idx="5">
                  <c:v>137.9973932359988</c:v>
                </c:pt>
                <c:pt idx="6">
                  <c:v>136.31044515495913</c:v>
                </c:pt>
                <c:pt idx="7">
                  <c:v>116.63258636602067</c:v>
                </c:pt>
                <c:pt idx="8">
                  <c:v>101.12196414094312</c:v>
                </c:pt>
                <c:pt idx="9">
                  <c:v>100</c:v>
                </c:pt>
                <c:pt idx="10">
                  <c:v>98.953870988436407</c:v>
                </c:pt>
                <c:pt idx="11">
                  <c:v>97.971246300812226</c:v>
                </c:pt>
                <c:pt idx="12">
                  <c:v>91.71026433866129</c:v>
                </c:pt>
                <c:pt idx="13">
                  <c:v>86.272695947444674</c:v>
                </c:pt>
                <c:pt idx="14">
                  <c:v>81.53226911079156</c:v>
                </c:pt>
                <c:pt idx="15">
                  <c:v>77.374324013045296</c:v>
                </c:pt>
                <c:pt idx="16">
                  <c:v>75.497452427299649</c:v>
                </c:pt>
                <c:pt idx="17">
                  <c:v>73.694252202492464</c:v>
                </c:pt>
                <c:pt idx="18">
                  <c:v>71.960864486719828</c:v>
                </c:pt>
                <c:pt idx="19">
                  <c:v>69.521653012623304</c:v>
                </c:pt>
                <c:pt idx="20">
                  <c:v>67.26582699674195</c:v>
                </c:pt>
                <c:pt idx="21">
                  <c:v>65.174417853874203</c:v>
                </c:pt>
                <c:pt idx="22">
                  <c:v>63.23056714352212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9.68180891940841</c:v>
                </c:pt>
                <c:pt idx="1">
                  <c:v>135.27874683387938</c:v>
                </c:pt>
                <c:pt idx="2">
                  <c:v>131.4656895776933</c:v>
                </c:pt>
                <c:pt idx="3">
                  <c:v>128.14745409786534</c:v>
                </c:pt>
                <c:pt idx="4">
                  <c:v>128.80420105975912</c:v>
                </c:pt>
                <c:pt idx="5">
                  <c:v>129.43598971104646</c:v>
                </c:pt>
                <c:pt idx="6">
                  <c:v>130.04346244936349</c:v>
                </c:pt>
                <c:pt idx="7">
                  <c:v>112.99429504284042</c:v>
                </c:pt>
                <c:pt idx="8">
                  <c:v>99.492280187377375</c:v>
                </c:pt>
                <c:pt idx="9">
                  <c:v>100</c:v>
                </c:pt>
                <c:pt idx="10">
                  <c:v>100.54853785624221</c:v>
                </c:pt>
                <c:pt idx="11">
                  <c:v>101.12877785303588</c:v>
                </c:pt>
                <c:pt idx="12">
                  <c:v>96.123356195087581</c:v>
                </c:pt>
                <c:pt idx="13">
                  <c:v>91.797459125190301</c:v>
                </c:pt>
                <c:pt idx="14">
                  <c:v>88.053239972402494</c:v>
                </c:pt>
                <c:pt idx="15">
                  <c:v>84.79777219816188</c:v>
                </c:pt>
                <c:pt idx="16">
                  <c:v>83.951432936856989</c:v>
                </c:pt>
                <c:pt idx="17">
                  <c:v>83.128195165511343</c:v>
                </c:pt>
                <c:pt idx="18">
                  <c:v>82.327170306945106</c:v>
                </c:pt>
                <c:pt idx="19">
                  <c:v>80.651596925359073</c:v>
                </c:pt>
                <c:pt idx="20">
                  <c:v>79.113957539996321</c:v>
                </c:pt>
                <c:pt idx="21">
                  <c:v>77.700367609453664</c:v>
                </c:pt>
                <c:pt idx="22">
                  <c:v>76.3982934427508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22.26306227806174</c:v>
                </c:pt>
                <c:pt idx="1">
                  <c:v>120.54559120623965</c:v>
                </c:pt>
                <c:pt idx="2">
                  <c:v>119.14590985545195</c:v>
                </c:pt>
                <c:pt idx="3">
                  <c:v>118.01460949574056</c:v>
                </c:pt>
                <c:pt idx="4">
                  <c:v>120.4121467923233</c:v>
                </c:pt>
                <c:pt idx="5">
                  <c:v>122.74323033647543</c:v>
                </c:pt>
                <c:pt idx="6">
                  <c:v>125.00967877882732</c:v>
                </c:pt>
                <c:pt idx="7">
                  <c:v>110.18633245462486</c:v>
                </c:pt>
                <c:pt idx="8">
                  <c:v>98.32747129300995</c:v>
                </c:pt>
                <c:pt idx="9">
                  <c:v>100</c:v>
                </c:pt>
                <c:pt idx="10">
                  <c:v>101.68844885291574</c:v>
                </c:pt>
                <c:pt idx="11">
                  <c:v>103.38609260876437</c:v>
                </c:pt>
                <c:pt idx="12">
                  <c:v>99.313469437187109</c:v>
                </c:pt>
                <c:pt idx="13">
                  <c:v>95.809236652331464</c:v>
                </c:pt>
                <c:pt idx="14">
                  <c:v>92.797939474369073</c:v>
                </c:pt>
                <c:pt idx="15">
                  <c:v>90.203702688883993</c:v>
                </c:pt>
                <c:pt idx="16">
                  <c:v>90.101991099614878</c:v>
                </c:pt>
                <c:pt idx="17">
                  <c:v>89.986503838476736</c:v>
                </c:pt>
                <c:pt idx="18">
                  <c:v>89.858530000124262</c:v>
                </c:pt>
                <c:pt idx="19">
                  <c:v>88.733874983459287</c:v>
                </c:pt>
                <c:pt idx="20">
                  <c:v>87.713536992740828</c:v>
                </c:pt>
                <c:pt idx="21">
                  <c:v>86.787460611668635</c:v>
                </c:pt>
                <c:pt idx="22">
                  <c:v>85.9463618673242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2281076115703118</c:v>
                </c:pt>
                <c:pt idx="1">
                  <c:v>0.53181433170123815</c:v>
                </c:pt>
                <c:pt idx="2">
                  <c:v>0.54048443666973378</c:v>
                </c:pt>
                <c:pt idx="3">
                  <c:v>0.54883926509392045</c:v>
                </c:pt>
                <c:pt idx="4">
                  <c:v>0.55689570678867184</c:v>
                </c:pt>
                <c:pt idx="5">
                  <c:v>0.56466946631869508</c:v>
                </c:pt>
                <c:pt idx="6">
                  <c:v>0.57217516517526934</c:v>
                </c:pt>
                <c:pt idx="7">
                  <c:v>0.57942643356212931</c:v>
                </c:pt>
                <c:pt idx="8">
                  <c:v>0.58643599300276039</c:v>
                </c:pt>
                <c:pt idx="9">
                  <c:v>0.59321573082238721</c:v>
                </c:pt>
                <c:pt idx="10">
                  <c:v>0.59977676742202624</c:v>
                </c:pt>
                <c:pt idx="11">
                  <c:v>0.60612951714548613</c:v>
                </c:pt>
                <c:pt idx="12">
                  <c:v>0.61228374344008774</c:v>
                </c:pt>
                <c:pt idx="13">
                  <c:v>0.61824860892562483</c:v>
                </c:pt>
                <c:pt idx="14">
                  <c:v>0.62403272091160034</c:v>
                </c:pt>
                <c:pt idx="15">
                  <c:v>0.62964417283829288</c:v>
                </c:pt>
                <c:pt idx="16">
                  <c:v>0.63509058206125923</c:v>
                </c:pt>
                <c:pt idx="17">
                  <c:v>0.64037912435022637</c:v>
                </c:pt>
                <c:pt idx="18">
                  <c:v>0.64551656543093749</c:v>
                </c:pt>
                <c:pt idx="19">
                  <c:v>0.65050928986148759</c:v>
                </c:pt>
                <c:pt idx="20">
                  <c:v>0.65536332750230031</c:v>
                </c:pt>
                <c:pt idx="21">
                  <c:v>0.66008437781048801</c:v>
                </c:pt>
                <c:pt idx="22">
                  <c:v>0.6646778321644003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30273568304762</c:v>
                </c:pt>
                <c:pt idx="1">
                  <c:v>0.23765367753928796</c:v>
                </c:pt>
                <c:pt idx="2">
                  <c:v>0.13453743040123134</c:v>
                </c:pt>
                <c:pt idx="3">
                  <c:v>0.11749581311114633</c:v>
                </c:pt>
                <c:pt idx="4">
                  <c:v>4.7861231170879197E-2</c:v>
                </c:pt>
                <c:pt idx="5">
                  <c:v>4.3049266030286054E-2</c:v>
                </c:pt>
                <c:pt idx="6">
                  <c:v>4.0333329638314958E-2</c:v>
                </c:pt>
                <c:pt idx="7">
                  <c:v>1.9447327271747816E-2</c:v>
                </c:pt>
                <c:pt idx="8">
                  <c:v>1.8681757498649056E-2</c:v>
                </c:pt>
                <c:pt idx="9">
                  <c:v>1.508710970636398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dvanced Protection Lotion FPS50+ 240ml (2.8%)</c:v>
                </c:pt>
                <c:pt idx="2">
                  <c:v>Hawaiian Tropic Sheer Touch Lotion FPS50+ 240ml (4.4%)</c:v>
                </c:pt>
                <c:pt idx="3">
                  <c:v>Hawaiian Tropic Island Sport Lotion FPS50 240ml (3.6%)</c:v>
                </c:pt>
                <c:pt idx="4">
                  <c:v>Nivea Sun Protection Sensitive Skin Gel FPS50+ 200ml (5.1%)</c:v>
                </c:pt>
                <c:pt idx="5">
                  <c:v>Hawaiian Tropic Ozono Lotion FPS50+ 240ml (4.4%)</c:v>
                </c:pt>
                <c:pt idx="6">
                  <c:v>Banana Boat Aqua Protect Sport Lotion FPS50+ 236ml (3.1%)</c:v>
                </c:pt>
                <c:pt idx="7">
                  <c:v>Banana Boat Aqua Protect Kids Cream FPS50+ 236ml (1.9%)</c:v>
                </c:pt>
                <c:pt idx="8">
                  <c:v>Nivea Sun Protect &amp; Refresh Sport Lotion FPS50 200ml (5.8%)</c:v>
                </c:pt>
                <c:pt idx="9">
                  <c:v>Nivea Sun Protection &amp; Hydration Lotion FPS50+ 125ml (4.5%)</c:v>
                </c:pt>
              </c:strCache>
            </c:strRef>
          </c:cat>
          <c:val>
            <c:numRef>
              <c:f>Sheet1!$B$2:$B$11</c:f>
              <c:numCache>
                <c:formatCode>General</c:formatCode>
                <c:ptCount val="10"/>
                <c:pt idx="0">
                  <c:v>0.11555050127064519</c:v>
                </c:pt>
                <c:pt idx="1">
                  <c:v>8.9097188521754328E-2</c:v>
                </c:pt>
                <c:pt idx="2">
                  <c:v>6.9452948372485571E-2</c:v>
                </c:pt>
                <c:pt idx="3">
                  <c:v>5.8106232570896268E-2</c:v>
                </c:pt>
                <c:pt idx="4">
                  <c:v>5.6828477770057742E-2</c:v>
                </c:pt>
                <c:pt idx="5">
                  <c:v>5.4483670319756886E-2</c:v>
                </c:pt>
                <c:pt idx="6">
                  <c:v>5.3775716260557868E-2</c:v>
                </c:pt>
                <c:pt idx="7">
                  <c:v>4.8410820269059761E-2</c:v>
                </c:pt>
                <c:pt idx="8">
                  <c:v>4.0749766204868913E-2</c:v>
                </c:pt>
                <c:pt idx="9">
                  <c:v>3.63421263368976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dvanced Protection Lotion FPS50+ 240ml (2.8%)</c:v>
                </c:pt>
                <c:pt idx="3">
                  <c:v>Banana Boat Aqua Protect Kids Cream FPS50+ 236ml (1.9%)</c:v>
                </c:pt>
                <c:pt idx="4">
                  <c:v>Nivea Sun Protection Sensitive Skin Gel FPS50+ 200ml (5.1%)</c:v>
                </c:pt>
                <c:pt idx="5">
                  <c:v>Hawaiian Tropic Ozono Lotion FPS50+ 240ml (4.4%)</c:v>
                </c:pt>
                <c:pt idx="6">
                  <c:v>Equate Sport Lotion FPS30 237ml (2.0%)</c:v>
                </c:pt>
                <c:pt idx="7">
                  <c:v>Nivea Sun Protect &amp; Refresh Sport Lotion FPS50 200ml (5.8%)</c:v>
                </c:pt>
                <c:pt idx="8">
                  <c:v>Hawaiian Tropic Sheer Touch Lotion FPS50+ 240ml (4.4%)</c:v>
                </c:pt>
                <c:pt idx="9">
                  <c:v>Hawaiian Tropic Island Sport Lotion FPS50 240ml (3.6%)</c:v>
                </c:pt>
              </c:strCache>
            </c:strRef>
          </c:cat>
          <c:val>
            <c:numRef>
              <c:f>Sheet1!$B$2:$B$11</c:f>
              <c:numCache>
                <c:formatCode>General</c:formatCode>
                <c:ptCount val="10"/>
                <c:pt idx="0">
                  <c:v>0.12608150795767428</c:v>
                </c:pt>
                <c:pt idx="1">
                  <c:v>8.63601298979738E-2</c:v>
                </c:pt>
                <c:pt idx="2">
                  <c:v>8.0844513844850793E-2</c:v>
                </c:pt>
                <c:pt idx="3">
                  <c:v>6.875569767930173E-2</c:v>
                </c:pt>
                <c:pt idx="4">
                  <c:v>4.920819578909523E-2</c:v>
                </c:pt>
                <c:pt idx="5">
                  <c:v>4.6377508369552838E-2</c:v>
                </c:pt>
                <c:pt idx="6">
                  <c:v>4.5795813958569444E-2</c:v>
                </c:pt>
                <c:pt idx="7">
                  <c:v>4.4278313488316172E-2</c:v>
                </c:pt>
                <c:pt idx="8">
                  <c:v>4.3709734941498463E-2</c:v>
                </c:pt>
                <c:pt idx="9">
                  <c:v>3.985922402500364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Kids Cream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52253191896020956</c:v>
                </c:pt>
                <c:pt idx="1">
                  <c:v>0.34412356549335488</c:v>
                </c:pt>
                <c:pt idx="2">
                  <c:v>0</c:v>
                </c:pt>
                <c:pt idx="3">
                  <c:v>-0.1939620523593166</c:v>
                </c:pt>
                <c:pt idx="4">
                  <c:v>-0.3238543417124826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Kids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29152492039814909</c:v>
                </c:pt>
                <c:pt idx="1">
                  <c:v>0.21381183884260518</c:v>
                </c:pt>
                <c:pt idx="2">
                  <c:v>0</c:v>
                </c:pt>
                <c:pt idx="3">
                  <c:v>-0.10340784036837201</c:v>
                </c:pt>
                <c:pt idx="4">
                  <c:v>-0.223492890752921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52.25319189602092</c:v>
                </c:pt>
                <c:pt idx="1">
                  <c:v>145.51873209321528</c:v>
                </c:pt>
                <c:pt idx="2">
                  <c:v>139.62966529298055</c:v>
                </c:pt>
                <c:pt idx="3">
                  <c:v>134.41235654933553</c:v>
                </c:pt>
                <c:pt idx="4">
                  <c:v>132.6065317040154</c:v>
                </c:pt>
                <c:pt idx="5">
                  <c:v>130.83824718390517</c:v>
                </c:pt>
                <c:pt idx="6">
                  <c:v>129.10628963154019</c:v>
                </c:pt>
                <c:pt idx="7">
                  <c:v>113.24000444095303</c:v>
                </c:pt>
                <c:pt idx="8">
                  <c:v>101.02819926007652</c:v>
                </c:pt>
                <c:pt idx="9">
                  <c:v>100</c:v>
                </c:pt>
                <c:pt idx="10">
                  <c:v>99.037755764847489</c:v>
                </c:pt>
                <c:pt idx="11">
                  <c:v>98.130846607375162</c:v>
                </c:pt>
                <c:pt idx="12">
                  <c:v>92.782936385806508</c:v>
                </c:pt>
                <c:pt idx="13">
                  <c:v>88.167031974820617</c:v>
                </c:pt>
                <c:pt idx="14">
                  <c:v>84.144725484288358</c:v>
                </c:pt>
                <c:pt idx="15">
                  <c:v>80.603794764068255</c:v>
                </c:pt>
                <c:pt idx="16">
                  <c:v>78.903346774284017</c:v>
                </c:pt>
                <c:pt idx="17">
                  <c:v>77.266471598473771</c:v>
                </c:pt>
                <c:pt idx="18">
                  <c:v>75.689459635183624</c:v>
                </c:pt>
                <c:pt idx="19">
                  <c:v>73.453672258702113</c:v>
                </c:pt>
                <c:pt idx="20">
                  <c:v>71.373526209158371</c:v>
                </c:pt>
                <c:pt idx="21">
                  <c:v>69.432064741038189</c:v>
                </c:pt>
                <c:pt idx="22">
                  <c:v>67.61456582875173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0.37506695541964</c:v>
                </c:pt>
                <c:pt idx="1">
                  <c:v>126.93443012391788</c:v>
                </c:pt>
                <c:pt idx="2">
                  <c:v>124.03260079652236</c:v>
                </c:pt>
                <c:pt idx="3">
                  <c:v>121.55217976708599</c:v>
                </c:pt>
                <c:pt idx="4">
                  <c:v>122.06199908742686</c:v>
                </c:pt>
                <c:pt idx="5">
                  <c:v>122.54817505578227</c:v>
                </c:pt>
                <c:pt idx="6">
                  <c:v>123.01140796174879</c:v>
                </c:pt>
                <c:pt idx="7">
                  <c:v>109.64044300898867</c:v>
                </c:pt>
                <c:pt idx="8">
                  <c:v>99.392835401320838</c:v>
                </c:pt>
                <c:pt idx="9">
                  <c:v>100</c:v>
                </c:pt>
                <c:pt idx="10">
                  <c:v>100.64083064671053</c:v>
                </c:pt>
                <c:pt idx="11">
                  <c:v>101.30752821564832</c:v>
                </c:pt>
                <c:pt idx="12">
                  <c:v>97.274557362047801</c:v>
                </c:pt>
                <c:pt idx="13">
                  <c:v>93.850796371392903</c:v>
                </c:pt>
                <c:pt idx="14">
                  <c:v>90.921443942116966</c:v>
                </c:pt>
                <c:pt idx="15">
                  <c:v>88.391677102091819</c:v>
                </c:pt>
                <c:pt idx="16">
                  <c:v>87.799952540123797</c:v>
                </c:pt>
                <c:pt idx="17">
                  <c:v>87.225211115253373</c:v>
                </c:pt>
                <c:pt idx="18">
                  <c:v>86.66627266414315</c:v>
                </c:pt>
                <c:pt idx="19">
                  <c:v>85.290815311677292</c:v>
                </c:pt>
                <c:pt idx="20">
                  <c:v>84.026787330738244</c:v>
                </c:pt>
                <c:pt idx="21">
                  <c:v>82.861424545915852</c:v>
                </c:pt>
                <c:pt idx="22">
                  <c:v>81.7835831422875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6.17689488510261</c:v>
                </c:pt>
                <c:pt idx="1">
                  <c:v>114.86933561082412</c:v>
                </c:pt>
                <c:pt idx="2">
                  <c:v>113.89676275273632</c:v>
                </c:pt>
                <c:pt idx="3">
                  <c:v>113.17974160302991</c:v>
                </c:pt>
                <c:pt idx="4">
                  <c:v>115.15040205369456</c:v>
                </c:pt>
                <c:pt idx="5">
                  <c:v>117.05956297151168</c:v>
                </c:pt>
                <c:pt idx="6">
                  <c:v>118.90907188583945</c:v>
                </c:pt>
                <c:pt idx="7">
                  <c:v>107.27730509659092</c:v>
                </c:pt>
                <c:pt idx="8">
                  <c:v>98.368358418211059</c:v>
                </c:pt>
                <c:pt idx="9">
                  <c:v>100</c:v>
                </c:pt>
                <c:pt idx="10">
                  <c:v>101.64519279331428</c:v>
                </c:pt>
                <c:pt idx="11">
                  <c:v>103.29796698692799</c:v>
                </c:pt>
                <c:pt idx="12">
                  <c:v>100.11122231294269</c:v>
                </c:pt>
                <c:pt idx="13">
                  <c:v>97.451975159801663</c:v>
                </c:pt>
                <c:pt idx="14">
                  <c:v>95.221413929190362</c:v>
                </c:pt>
                <c:pt idx="15">
                  <c:v>93.33647337615956</c:v>
                </c:pt>
                <c:pt idx="16">
                  <c:v>93.444756211751454</c:v>
                </c:pt>
                <c:pt idx="17">
                  <c:v>93.540463879413053</c:v>
                </c:pt>
                <c:pt idx="18">
                  <c:v>93.624028969267755</c:v>
                </c:pt>
                <c:pt idx="19">
                  <c:v>92.792339966293767</c:v>
                </c:pt>
                <c:pt idx="20">
                  <c:v>92.043640451757355</c:v>
                </c:pt>
                <c:pt idx="21">
                  <c:v>91.367909531205527</c:v>
                </c:pt>
                <c:pt idx="22">
                  <c:v>90.7563401568625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736151338534545</c:v>
                </c:pt>
                <c:pt idx="1">
                  <c:v>0.56571318294411277</c:v>
                </c:pt>
                <c:pt idx="2">
                  <c:v>0.57375553140811042</c:v>
                </c:pt>
                <c:pt idx="3">
                  <c:v>0.58150543083705397</c:v>
                </c:pt>
                <c:pt idx="4">
                  <c:v>0.58897854814353512</c:v>
                </c:pt>
                <c:pt idx="5">
                  <c:v>0.59618945080768371</c:v>
                </c:pt>
                <c:pt idx="6">
                  <c:v>0.60315170165582721</c:v>
                </c:pt>
                <c:pt idx="7">
                  <c:v>0.60987794400064355</c:v>
                </c:pt>
                <c:pt idx="8">
                  <c:v>0.6163799782672994</c:v>
                </c:pt>
                <c:pt idx="9">
                  <c:v>0.62266883108258952</c:v>
                </c:pt>
                <c:pt idx="10">
                  <c:v>0.62875481767803165</c:v>
                </c:pt>
                <c:pt idx="11">
                  <c:v>0.63464759834980899</c:v>
                </c:pt>
                <c:pt idx="12">
                  <c:v>0.64035622962559324</c:v>
                </c:pt>
                <c:pt idx="13">
                  <c:v>0.64588921070827632</c:v>
                </c:pt>
                <c:pt idx="14">
                  <c:v>0.65125452569754494</c:v>
                </c:pt>
                <c:pt idx="15">
                  <c:v>0.65645968203041727</c:v>
                </c:pt>
                <c:pt idx="16">
                  <c:v>0.66151174552997005</c:v>
                </c:pt>
                <c:pt idx="17">
                  <c:v>0.66641737240634735</c:v>
                </c:pt>
                <c:pt idx="18">
                  <c:v>0.67118283851482807</c:v>
                </c:pt>
                <c:pt idx="19">
                  <c:v>0.67581406614137995</c:v>
                </c:pt>
                <c:pt idx="20">
                  <c:v>0.68031664855608287</c:v>
                </c:pt>
                <c:pt idx="21">
                  <c:v>0.6846958725484652</c:v>
                </c:pt>
                <c:pt idx="22">
                  <c:v>0.688956739135648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Nivea Sun Protection Sensitive Skin Gel FPS50+ 200ml (5.1%)</c:v>
                </c:pt>
                <c:pt idx="4">
                  <c:v>Banana Boat Aqua Protect Sport Lotion FPS50+ 236ml (3.1%)</c:v>
                </c:pt>
                <c:pt idx="5">
                  <c:v>Hawaiian Tropic Ozono Lotion FPS50+ 240ml (4.4%)</c:v>
                </c:pt>
                <c:pt idx="6">
                  <c:v>Hawaiian Tropic Sheer Touch Lotion FPS50+ 240ml (4.4%)</c:v>
                </c:pt>
                <c:pt idx="7">
                  <c:v>Hawaiian Tropic Island Sport Lotion FPS50 240ml (3.6%)</c:v>
                </c:pt>
                <c:pt idx="8">
                  <c:v>Nivea Sun Protect &amp; Refresh Sport Lotion FPS50 200ml (5.8%)</c:v>
                </c:pt>
                <c:pt idx="9">
                  <c:v>Nivea Sun Protection &amp; Hydration Lotion FPS50+ 125ml (4.5%)</c:v>
                </c:pt>
              </c:strCache>
            </c:strRef>
          </c:cat>
          <c:val>
            <c:numRef>
              <c:f>Sheet1!$B$2:$B$11</c:f>
              <c:numCache>
                <c:formatCode>General</c:formatCode>
                <c:ptCount val="10"/>
                <c:pt idx="0">
                  <c:v>0.10802563408128409</c:v>
                </c:pt>
                <c:pt idx="1">
                  <c:v>8.6672932715962936E-2</c:v>
                </c:pt>
                <c:pt idx="2">
                  <c:v>6.755015756200082E-2</c:v>
                </c:pt>
                <c:pt idx="3">
                  <c:v>6.1307064864021245E-2</c:v>
                </c:pt>
                <c:pt idx="4">
                  <c:v>5.8558701974863216E-2</c:v>
                </c:pt>
                <c:pt idx="5">
                  <c:v>5.1690130686359526E-2</c:v>
                </c:pt>
                <c:pt idx="6">
                  <c:v>5.0687514523912749E-2</c:v>
                </c:pt>
                <c:pt idx="7">
                  <c:v>4.7507314216717902E-2</c:v>
                </c:pt>
                <c:pt idx="8">
                  <c:v>4.7366572966722281E-2</c:v>
                </c:pt>
                <c:pt idx="9">
                  <c:v>4.064275098733385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Sport Lotion FPS50+ 236ml (3.1%)</c:v>
                </c:pt>
                <c:pt idx="3">
                  <c:v>Nivea Sun Protect &amp; Refresh Sport Lotion FPS50 200ml (5.8%)</c:v>
                </c:pt>
                <c:pt idx="4">
                  <c:v>Banana Boat Advanced Protection Lotion FPS50+ 240ml (2.8%)</c:v>
                </c:pt>
                <c:pt idx="5">
                  <c:v>Nivea Sun Protection Sensitive Skin Gel FPS50+ 200ml (5.1%)</c:v>
                </c:pt>
                <c:pt idx="6">
                  <c:v>Nivea Sun Protection &amp; Hydration Lotion FPS50+ 125ml (4.5%)</c:v>
                </c:pt>
                <c:pt idx="7">
                  <c:v>Hawaiian Tropic Ozono Lotion FPS50+ 240ml (4.4%)</c:v>
                </c:pt>
                <c:pt idx="8">
                  <c:v>Hawaiian Tropic Island Sport Lotion FPS50 240ml (3.6%)</c:v>
                </c:pt>
                <c:pt idx="9">
                  <c:v>Equate Sport Lotion FPS30 237ml (2.0%)</c:v>
                </c:pt>
              </c:strCache>
            </c:strRef>
          </c:cat>
          <c:val>
            <c:numRef>
              <c:f>Sheet1!$B$2:$B$11</c:f>
              <c:numCache>
                <c:formatCode>General</c:formatCode>
                <c:ptCount val="10"/>
                <c:pt idx="0">
                  <c:v>0.11518881868364021</c:v>
                </c:pt>
                <c:pt idx="1">
                  <c:v>0.1045682781205793</c:v>
                </c:pt>
                <c:pt idx="2">
                  <c:v>8.6042551536449061E-2</c:v>
                </c:pt>
                <c:pt idx="3">
                  <c:v>5.7736168093787156E-2</c:v>
                </c:pt>
                <c:pt idx="4">
                  <c:v>5.7520450319624009E-2</c:v>
                </c:pt>
                <c:pt idx="5">
                  <c:v>5.5595810435771782E-2</c:v>
                </c:pt>
                <c:pt idx="6">
                  <c:v>4.235163913531427E-2</c:v>
                </c:pt>
                <c:pt idx="7">
                  <c:v>4.1772710463290647E-2</c:v>
                </c:pt>
                <c:pt idx="8">
                  <c:v>3.1816554768427936E-2</c:v>
                </c:pt>
                <c:pt idx="9">
                  <c:v>3.08982358915160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15249203981497</c:v>
                </c:pt>
                <c:pt idx="1">
                  <c:v>126.19344018752135</c:v>
                </c:pt>
                <c:pt idx="2">
                  <c:v>123.6360134592089</c:v>
                </c:pt>
                <c:pt idx="3">
                  <c:v>121.38118388426051</c:v>
                </c:pt>
                <c:pt idx="4">
                  <c:v>116.47276854163067</c:v>
                </c:pt>
                <c:pt idx="5">
                  <c:v>112.23636824413867</c:v>
                </c:pt>
                <c:pt idx="6">
                  <c:v>108.52879777799302</c:v>
                </c:pt>
                <c:pt idx="7">
                  <c:v>105.24345498213702</c:v>
                </c:pt>
                <c:pt idx="8">
                  <c:v>103.41739570011261</c:v>
                </c:pt>
                <c:pt idx="9">
                  <c:v>101.67166926396047</c:v>
                </c:pt>
                <c:pt idx="10">
                  <c:v>100</c:v>
                </c:pt>
                <c:pt idx="11">
                  <c:v>98.251191828639008</c:v>
                </c:pt>
                <c:pt idx="12">
                  <c:v>96.610170299296954</c:v>
                </c:pt>
                <c:pt idx="13">
                  <c:v>95.065000533143802</c:v>
                </c:pt>
                <c:pt idx="14">
                  <c:v>93.605485994807395</c:v>
                </c:pt>
                <c:pt idx="15">
                  <c:v>92.222876640681832</c:v>
                </c:pt>
                <c:pt idx="16">
                  <c:v>90.9096301205402</c:v>
                </c:pt>
                <c:pt idx="17">
                  <c:v>89.659215963162737</c:v>
                </c:pt>
                <c:pt idx="18">
                  <c:v>88.066539527198515</c:v>
                </c:pt>
                <c:pt idx="19">
                  <c:v>86.550848400709285</c:v>
                </c:pt>
                <c:pt idx="20">
                  <c:v>85.105963823476856</c:v>
                </c:pt>
                <c:pt idx="21">
                  <c:v>83.726362665316117</c:v>
                </c:pt>
                <c:pt idx="22">
                  <c:v>82.407094902278217</c:v>
                </c:pt>
                <c:pt idx="23">
                  <c:v>81.143712732595034</c:v>
                </c:pt>
                <c:pt idx="24">
                  <c:v>79.932209552704805</c:v>
                </c:pt>
                <c:pt idx="25">
                  <c:v>78.768967301992717</c:v>
                </c:pt>
                <c:pt idx="26">
                  <c:v>77.6507109247078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0.750279763656</c:v>
                </c:pt>
                <c:pt idx="1">
                  <c:v>110.01058551628331</c:v>
                </c:pt>
                <c:pt idx="2">
                  <c:v>109.54245093060857</c:v>
                </c:pt>
                <c:pt idx="3">
                  <c:v>109.27387199378573</c:v>
                </c:pt>
                <c:pt idx="4">
                  <c:v>106.51484456183582</c:v>
                </c:pt>
                <c:pt idx="5">
                  <c:v>104.2400654574202</c:v>
                </c:pt>
                <c:pt idx="6">
                  <c:v>102.34324084076434</c:v>
                </c:pt>
                <c:pt idx="7">
                  <c:v>100.74493360897512</c:v>
                </c:pt>
                <c:pt idx="8">
                  <c:v>100.47041967371464</c:v>
                </c:pt>
                <c:pt idx="9">
                  <c:v>100.22305615282127</c:v>
                </c:pt>
                <c:pt idx="10">
                  <c:v>100</c:v>
                </c:pt>
                <c:pt idx="11">
                  <c:v>99.651505779984689</c:v>
                </c:pt>
                <c:pt idx="12">
                  <c:v>99.364010294881297</c:v>
                </c:pt>
                <c:pt idx="13">
                  <c:v>99.129675960369383</c:v>
                </c:pt>
                <c:pt idx="14">
                  <c:v>98.941822572417607</c:v>
                </c:pt>
                <c:pt idx="15">
                  <c:v>98.794738452509705</c:v>
                </c:pt>
                <c:pt idx="16">
                  <c:v>98.683524246484339</c:v>
                </c:pt>
                <c:pt idx="17">
                  <c:v>98.603963590507803</c:v>
                </c:pt>
                <c:pt idx="18">
                  <c:v>98.106702873203346</c:v>
                </c:pt>
                <c:pt idx="19">
                  <c:v>97.650956265420973</c:v>
                </c:pt>
                <c:pt idx="20">
                  <c:v>97.232950069248233</c:v>
                </c:pt>
                <c:pt idx="21">
                  <c:v>96.849317567888718</c:v>
                </c:pt>
                <c:pt idx="22">
                  <c:v>96.497048983137006</c:v>
                </c:pt>
                <c:pt idx="23">
                  <c:v>96.173448194203516</c:v>
                </c:pt>
                <c:pt idx="24">
                  <c:v>95.876095240213061</c:v>
                </c:pt>
                <c:pt idx="25">
                  <c:v>95.602813776564005</c:v>
                </c:pt>
                <c:pt idx="26">
                  <c:v>95.3516427804803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0.99895450945242</c:v>
                </c:pt>
                <c:pt idx="1">
                  <c:v>101.43578721107916</c:v>
                </c:pt>
                <c:pt idx="2">
                  <c:v>102.07519901387747</c:v>
                </c:pt>
                <c:pt idx="3">
                  <c:v>102.85953739184666</c:v>
                </c:pt>
                <c:pt idx="4">
                  <c:v>101.23905337928834</c:v>
                </c:pt>
                <c:pt idx="5">
                  <c:v>100.00334526592607</c:v>
                </c:pt>
                <c:pt idx="6">
                  <c:v>99.06565995351832</c:v>
                </c:pt>
                <c:pt idx="7">
                  <c:v>98.36095001564091</c:v>
                </c:pt>
                <c:pt idx="8">
                  <c:v>98.908670417076038</c:v>
                </c:pt>
                <c:pt idx="9">
                  <c:v>99.455361153145944</c:v>
                </c:pt>
                <c:pt idx="10">
                  <c:v>100</c:v>
                </c:pt>
                <c:pt idx="11">
                  <c:v>100.39293804883407</c:v>
                </c:pt>
                <c:pt idx="12">
                  <c:v>100.82211853564608</c:v>
                </c:pt>
                <c:pt idx="13">
                  <c:v>101.28187490714052</c:v>
                </c:pt>
                <c:pt idx="14">
                  <c:v>101.76738986946188</c:v>
                </c:pt>
                <c:pt idx="15">
                  <c:v>102.27456119455405</c:v>
                </c:pt>
                <c:pt idx="16">
                  <c:v>102.79988934688625</c:v>
                </c:pt>
                <c:pt idx="17">
                  <c:v>103.34038342022225</c:v>
                </c:pt>
                <c:pt idx="18">
                  <c:v>103.42441353544478</c:v>
                </c:pt>
                <c:pt idx="19">
                  <c:v>103.53109607711207</c:v>
                </c:pt>
                <c:pt idx="20">
                  <c:v>103.65793993109453</c:v>
                </c:pt>
                <c:pt idx="21">
                  <c:v>103.80272806860422</c:v>
                </c:pt>
                <c:pt idx="22">
                  <c:v>103.96348489482328</c:v>
                </c:pt>
                <c:pt idx="23">
                  <c:v>104.1384477423194</c:v>
                </c:pt>
                <c:pt idx="24">
                  <c:v>104.32604196258495</c:v>
                </c:pt>
                <c:pt idx="25">
                  <c:v>104.52485914124081</c:v>
                </c:pt>
                <c:pt idx="26">
                  <c:v>104.733638025848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979056474432326</c:v>
                </c:pt>
                <c:pt idx="1">
                  <c:v>0.60449735814088457</c:v>
                </c:pt>
                <c:pt idx="2">
                  <c:v>0.61087643300957994</c:v>
                </c:pt>
                <c:pt idx="3">
                  <c:v>0.61705299756498355</c:v>
                </c:pt>
                <c:pt idx="4">
                  <c:v>0.62303654447803047</c:v>
                </c:pt>
                <c:pt idx="5">
                  <c:v>0.62883598225529169</c:v>
                </c:pt>
                <c:pt idx="6">
                  <c:v>0.63445967949384796</c:v>
                </c:pt>
                <c:pt idx="7">
                  <c:v>0.63991550517304419</c:v>
                </c:pt>
                <c:pt idx="8">
                  <c:v>0.64521086539108774</c:v>
                </c:pt>
                <c:pt idx="9">
                  <c:v>0.65035273690715878</c:v>
                </c:pt>
                <c:pt idx="10">
                  <c:v>0.65534769780848512</c:v>
                </c:pt>
                <c:pt idx="11">
                  <c:v>0.66020195558583039</c:v>
                </c:pt>
                <c:pt idx="12">
                  <c:v>0.66492137286936059</c:v>
                </c:pt>
                <c:pt idx="13">
                  <c:v>0.66951149104923247</c:v>
                </c:pt>
                <c:pt idx="14">
                  <c:v>0.67397755198099951</c:v>
                </c:pt>
                <c:pt idx="15">
                  <c:v>0.67832451795458604</c:v>
                </c:pt>
                <c:pt idx="16">
                  <c:v>0.68255709008676257</c:v>
                </c:pt>
                <c:pt idx="17">
                  <c:v>0.68667972528044108</c:v>
                </c:pt>
                <c:pt idx="18">
                  <c:v>0.69069665187940976</c:v>
                </c:pt>
                <c:pt idx="19">
                  <c:v>0.6946118841341008</c:v>
                </c:pt>
                <c:pt idx="20">
                  <c:v>0.69842923558242442</c:v>
                </c:pt>
                <c:pt idx="21">
                  <c:v>0.70215233143943157</c:v>
                </c:pt>
                <c:pt idx="22">
                  <c:v>0.7057846200804142</c:v>
                </c:pt>
                <c:pt idx="23">
                  <c:v>0.70932938369390308</c:v>
                </c:pt>
                <c:pt idx="24">
                  <c:v>0.71278974817373764</c:v>
                </c:pt>
                <c:pt idx="25">
                  <c:v>0.71616869231287017</c:v>
                </c:pt>
                <c:pt idx="26">
                  <c:v>0.719469056355743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Nivea Sun Protection &amp; Hydration Lotion FPS50+ 125ml (4.5%)</c:v>
                </c:pt>
                <c:pt idx="4">
                  <c:v>Nivea Sun Protection Sensitive Skin Gel FPS50+ 200ml (5.1%)</c:v>
                </c:pt>
                <c:pt idx="5">
                  <c:v>Banana Boat Aqua Protect Cream FPS50+ 236ml (2.7%)</c:v>
                </c:pt>
                <c:pt idx="6">
                  <c:v>Banana Boat Aqua Protect Kids Cream FPS50+ 236ml (1.9%)</c:v>
                </c:pt>
                <c:pt idx="7">
                  <c:v>Hawaiian Tropic Ozono Lotion FPS50+ 240ml (4.4%)</c:v>
                </c:pt>
                <c:pt idx="8">
                  <c:v>Equate Sport Lotion FPS30 237ml (2.0%)</c:v>
                </c:pt>
                <c:pt idx="9">
                  <c:v>Hawaiian Tropic Sheer Touch Lotion FPS50+ 240ml (4.4%)</c:v>
                </c:pt>
              </c:strCache>
            </c:strRef>
          </c:cat>
          <c:val>
            <c:numRef>
              <c:f>Sheet1!$B$2:$B$11</c:f>
              <c:numCache>
                <c:formatCode>General</c:formatCode>
                <c:ptCount val="10"/>
                <c:pt idx="0">
                  <c:v>9.353872820680488E-2</c:v>
                </c:pt>
                <c:pt idx="1">
                  <c:v>6.235912525782298E-2</c:v>
                </c:pt>
                <c:pt idx="2">
                  <c:v>5.8847485357541321E-2</c:v>
                </c:pt>
                <c:pt idx="3">
                  <c:v>5.4196776594736949E-2</c:v>
                </c:pt>
                <c:pt idx="4">
                  <c:v>4.662742381777138E-2</c:v>
                </c:pt>
                <c:pt idx="5">
                  <c:v>4.6376467946520297E-2</c:v>
                </c:pt>
                <c:pt idx="6">
                  <c:v>4.1948208403385839E-2</c:v>
                </c:pt>
                <c:pt idx="7">
                  <c:v>3.964865192969215E-2</c:v>
                </c:pt>
                <c:pt idx="8">
                  <c:v>3.7150711202342694E-2</c:v>
                </c:pt>
                <c:pt idx="9">
                  <c:v>3.401196611727203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Nivea Sun Protection Sensitive Skin Gel FPS50+ 200ml (5.1%)</c:v>
                </c:pt>
                <c:pt idx="4">
                  <c:v>Hawaiian Tropic Ozono Lotion FPS50+ 240ml (4.4%)</c:v>
                </c:pt>
                <c:pt idx="5">
                  <c:v>Banana Boat Aqua Protect Cream FPS50+ 236ml (2.7%)</c:v>
                </c:pt>
                <c:pt idx="6">
                  <c:v>Nivea Sun Protection &amp; Hydration Lotion FPS50+ 125ml (4.5%)</c:v>
                </c:pt>
                <c:pt idx="7">
                  <c:v>Hawaiian Tropic Sheer Touch Lotion FPS50+ 240ml (4.4%)</c:v>
                </c:pt>
                <c:pt idx="8">
                  <c:v>Banana Boat Aqua Protect Kids Cream FPS50+ 236ml (1.9%)</c:v>
                </c:pt>
                <c:pt idx="9">
                  <c:v>Hawaiian Tropic Island Sport Lotion FPS50 240ml (3.6%)</c:v>
                </c:pt>
              </c:strCache>
            </c:strRef>
          </c:cat>
          <c:val>
            <c:numRef>
              <c:f>Sheet1!$B$2:$B$11</c:f>
              <c:numCache>
                <c:formatCode>General</c:formatCode>
                <c:ptCount val="10"/>
                <c:pt idx="0">
                  <c:v>0.10072378343504053</c:v>
                </c:pt>
                <c:pt idx="1">
                  <c:v>6.1479329397836437E-2</c:v>
                </c:pt>
                <c:pt idx="2">
                  <c:v>5.9738757991362412E-2</c:v>
                </c:pt>
                <c:pt idx="3">
                  <c:v>5.0068014527423786E-2</c:v>
                </c:pt>
                <c:pt idx="4">
                  <c:v>4.5734020221061551E-2</c:v>
                </c:pt>
                <c:pt idx="5">
                  <c:v>4.4773938195376957E-2</c:v>
                </c:pt>
                <c:pt idx="6">
                  <c:v>4.4386468820124106E-2</c:v>
                </c:pt>
                <c:pt idx="7">
                  <c:v>4.3056248137051709E-2</c:v>
                </c:pt>
                <c:pt idx="8">
                  <c:v>4.209248507403749E-2</c:v>
                </c:pt>
                <c:pt idx="9">
                  <c:v>3.258190031200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Face Fluid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75</c:v>
                </c:pt>
                <c:pt idx="2">
                  <c:v>310</c:v>
                </c:pt>
                <c:pt idx="3">
                  <c:v>335</c:v>
                </c:pt>
                <c:pt idx="4">
                  <c:v>375</c:v>
                </c:pt>
              </c:numCache>
            </c:numRef>
          </c:xVal>
          <c:yVal>
            <c:numRef>
              <c:f>Sheet1!$B$2:$B$6</c:f>
              <c:numCache>
                <c:formatCode>General</c:formatCode>
                <c:ptCount val="5"/>
                <c:pt idx="0">
                  <c:v>0.34063466473625242</c:v>
                </c:pt>
                <c:pt idx="1">
                  <c:v>0.27659363881592303</c:v>
                </c:pt>
                <c:pt idx="2">
                  <c:v>0</c:v>
                </c:pt>
                <c:pt idx="3">
                  <c:v>-9.8038837549818056E-2</c:v>
                </c:pt>
                <c:pt idx="4">
                  <c:v>-0.172643240063401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dvanced Protection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17851969704206677</c:v>
                </c:pt>
                <c:pt idx="1">
                  <c:v>5.8222364219167093E-2</c:v>
                </c:pt>
                <c:pt idx="2">
                  <c:v>0</c:v>
                </c:pt>
                <c:pt idx="3">
                  <c:v>-0.12848513745133325</c:v>
                </c:pt>
                <c:pt idx="4">
                  <c:v>-0.163969310021047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Advanced Protection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0</c:v>
                </c:pt>
                <c:pt idx="1">
                  <c:v>275</c:v>
                </c:pt>
                <c:pt idx="2">
                  <c:v>310</c:v>
                </c:pt>
                <c:pt idx="3">
                  <c:v>345</c:v>
                </c:pt>
                <c:pt idx="4">
                  <c:v>375</c:v>
                </c:pt>
              </c:numCache>
            </c:numRef>
          </c:xVal>
          <c:yVal>
            <c:numRef>
              <c:f>Sheet1!$B$16:$B$20</c:f>
              <c:numCache>
                <c:formatCode>General</c:formatCode>
                <c:ptCount val="5"/>
                <c:pt idx="0">
                  <c:v>0.55854083202973215</c:v>
                </c:pt>
                <c:pt idx="1">
                  <c:v>0.49558489716524023</c:v>
                </c:pt>
                <c:pt idx="2">
                  <c:v>0</c:v>
                </c:pt>
                <c:pt idx="3">
                  <c:v>-0.27028965181869152</c:v>
                </c:pt>
                <c:pt idx="4">
                  <c:v>-0.401303596522704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
          <c:min val="1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Garnier (1.7%)</c:v>
                </c:pt>
                <c:pt idx="7">
                  <c:v>Isdin (1.8%)</c:v>
                </c:pt>
                <c:pt idx="8">
                  <c:v>La Roche-Posay (1.9%)</c:v>
                </c:pt>
                <c:pt idx="9">
                  <c:v>Eucerin (1.1%)</c:v>
                </c:pt>
              </c:strCache>
            </c:strRef>
          </c:cat>
          <c:val>
            <c:numRef>
              <c:f>Sheet1!$B$2:$B$11</c:f>
              <c:numCache>
                <c:formatCode>General</c:formatCode>
                <c:ptCount val="10"/>
                <c:pt idx="0">
                  <c:v>0.40469093910373938</c:v>
                </c:pt>
                <c:pt idx="1">
                  <c:v>0.1701720597850743</c:v>
                </c:pt>
                <c:pt idx="2">
                  <c:v>0.11515522640911804</c:v>
                </c:pt>
                <c:pt idx="3">
                  <c:v>8.983632393519618E-2</c:v>
                </c:pt>
                <c:pt idx="4">
                  <c:v>8.0061201553485187E-2</c:v>
                </c:pt>
                <c:pt idx="5">
                  <c:v>2.9988974517257051E-2</c:v>
                </c:pt>
                <c:pt idx="6">
                  <c:v>2.7460647537233034E-2</c:v>
                </c:pt>
                <c:pt idx="7">
                  <c:v>2.4023447018215117E-2</c:v>
                </c:pt>
                <c:pt idx="8">
                  <c:v>1.8701302690732287E-2</c:v>
                </c:pt>
                <c:pt idx="9">
                  <c:v>1.78768101618183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4.06346647362523</c:v>
                </c:pt>
                <c:pt idx="1">
                  <c:v>127.65936388159227</c:v>
                </c:pt>
                <c:pt idx="2">
                  <c:v>125.73433144985241</c:v>
                </c:pt>
                <c:pt idx="3">
                  <c:v>123.87377192585951</c:v>
                </c:pt>
                <c:pt idx="4">
                  <c:v>122.07380077476604</c:v>
                </c:pt>
                <c:pt idx="5">
                  <c:v>112.88065357415135</c:v>
                </c:pt>
                <c:pt idx="6">
                  <c:v>105.59920079849559</c:v>
                </c:pt>
                <c:pt idx="7">
                  <c:v>102.59976234626653</c:v>
                </c:pt>
                <c:pt idx="8">
                  <c:v>100</c:v>
                </c:pt>
                <c:pt idx="9">
                  <c:v>97.703096171857695</c:v>
                </c:pt>
                <c:pt idx="10">
                  <c:v>95.5688308397783</c:v>
                </c:pt>
                <c:pt idx="11">
                  <c:v>93.626086063032304</c:v>
                </c:pt>
                <c:pt idx="12">
                  <c:v>91.843411661283156</c:v>
                </c:pt>
                <c:pt idx="13">
                  <c:v>90.196116245018203</c:v>
                </c:pt>
                <c:pt idx="14">
                  <c:v>88.917527397846158</c:v>
                </c:pt>
                <c:pt idx="15">
                  <c:v>87.68688426249463</c:v>
                </c:pt>
                <c:pt idx="16">
                  <c:v>86.500594520809031</c:v>
                </c:pt>
                <c:pt idx="17">
                  <c:v>85.687801608236924</c:v>
                </c:pt>
                <c:pt idx="18">
                  <c:v>84.907587824237552</c:v>
                </c:pt>
                <c:pt idx="19">
                  <c:v>84.157097257382702</c:v>
                </c:pt>
                <c:pt idx="20">
                  <c:v>83.433848884106993</c:v>
                </c:pt>
                <c:pt idx="21">
                  <c:v>82.7356759936598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7417871003265</c:v>
                </c:pt>
                <c:pt idx="1">
                  <c:v>113.23064509016886</c:v>
                </c:pt>
                <c:pt idx="2">
                  <c:v>113.54644668216987</c:v>
                </c:pt>
                <c:pt idx="3">
                  <c:v>113.8594945660174</c:v>
                </c:pt>
                <c:pt idx="4">
                  <c:v>114.16927372303527</c:v>
                </c:pt>
                <c:pt idx="5">
                  <c:v>107.40694987968307</c:v>
                </c:pt>
                <c:pt idx="6">
                  <c:v>102.19231924895189</c:v>
                </c:pt>
                <c:pt idx="7">
                  <c:v>100.9450602751357</c:v>
                </c:pt>
                <c:pt idx="8">
                  <c:v>100</c:v>
                </c:pt>
                <c:pt idx="9">
                  <c:v>99.278318689759601</c:v>
                </c:pt>
                <c:pt idx="10">
                  <c:v>98.650884932171849</c:v>
                </c:pt>
                <c:pt idx="11">
                  <c:v>98.155069814247426</c:v>
                </c:pt>
                <c:pt idx="12">
                  <c:v>97.766730142738908</c:v>
                </c:pt>
                <c:pt idx="13">
                  <c:v>97.466980467579447</c:v>
                </c:pt>
                <c:pt idx="14">
                  <c:v>97.517312209461892</c:v>
                </c:pt>
                <c:pt idx="15">
                  <c:v>97.579768944981154</c:v>
                </c:pt>
                <c:pt idx="16">
                  <c:v>97.65261681441261</c:v>
                </c:pt>
                <c:pt idx="17">
                  <c:v>98.114107321949291</c:v>
                </c:pt>
                <c:pt idx="18">
                  <c:v>98.58717371007792</c:v>
                </c:pt>
                <c:pt idx="19">
                  <c:v>99.070033132775592</c:v>
                </c:pt>
                <c:pt idx="20">
                  <c:v>99.561165487813881</c:v>
                </c:pt>
                <c:pt idx="21">
                  <c:v>100.059270446402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95.31598000783049</c:v>
                </c:pt>
                <c:pt idx="1">
                  <c:v>95.374882107385687</c:v>
                </c:pt>
                <c:pt idx="2">
                  <c:v>98.479203145953036</c:v>
                </c:pt>
                <c:pt idx="3">
                  <c:v>101.49725584630723</c:v>
                </c:pt>
                <c:pt idx="4">
                  <c:v>104.43270485293668</c:v>
                </c:pt>
                <c:pt idx="5">
                  <c:v>100.64621982516935</c:v>
                </c:pt>
                <c:pt idx="6">
                  <c:v>97.96903929483301</c:v>
                </c:pt>
                <c:pt idx="7">
                  <c:v>98.893045103049545</c:v>
                </c:pt>
                <c:pt idx="8">
                  <c:v>100</c:v>
                </c:pt>
                <c:pt idx="9">
                  <c:v>101.23290699221464</c:v>
                </c:pt>
                <c:pt idx="10">
                  <c:v>102.47423929466987</c:v>
                </c:pt>
                <c:pt idx="11">
                  <c:v>103.77363669146851</c:v>
                </c:pt>
                <c:pt idx="12">
                  <c:v>105.11586180719267</c:v>
                </c:pt>
                <c:pt idx="13">
                  <c:v>106.48911204301332</c:v>
                </c:pt>
                <c:pt idx="14">
                  <c:v>108.19196572943552</c:v>
                </c:pt>
                <c:pt idx="15">
                  <c:v>109.86250484161057</c:v>
                </c:pt>
                <c:pt idx="16">
                  <c:v>111.50129533543127</c:v>
                </c:pt>
                <c:pt idx="17">
                  <c:v>113.54930928058302</c:v>
                </c:pt>
                <c:pt idx="18">
                  <c:v>115.58294346549816</c:v>
                </c:pt>
                <c:pt idx="19">
                  <c:v>117.60173806846441</c:v>
                </c:pt>
                <c:pt idx="20">
                  <c:v>119.6053579700157</c:v>
                </c:pt>
                <c:pt idx="21">
                  <c:v>121.593571447633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36443359853939256</c:v>
                </c:pt>
                <c:pt idx="1">
                  <c:v>0.37598935129322186</c:v>
                </c:pt>
                <c:pt idx="2">
                  <c:v>0.38713239859155729</c:v>
                </c:pt>
                <c:pt idx="3">
                  <c:v>0.39788446177416165</c:v>
                </c:pt>
                <c:pt idx="4">
                  <c:v>0.40826576415736554</c:v>
                </c:pt>
                <c:pt idx="5">
                  <c:v>0.41829515798520678</c:v>
                </c:pt>
                <c:pt idx="6">
                  <c:v>0.42799023868545333</c:v>
                </c:pt>
                <c:pt idx="7">
                  <c:v>0.43736744788733106</c:v>
                </c:pt>
                <c:pt idx="8">
                  <c:v>0.44644216646979351</c:v>
                </c:pt>
                <c:pt idx="9">
                  <c:v>0.45522879874805078</c:v>
                </c:pt>
                <c:pt idx="10">
                  <c:v>0.46374084876761251</c:v>
                </c:pt>
                <c:pt idx="11">
                  <c:v>0.47199098955580326</c:v>
                </c:pt>
                <c:pt idx="12">
                  <c:v>0.47999112607768502</c:v>
                </c:pt>
                <c:pt idx="13">
                  <c:v>0.48775245255413729</c:v>
                </c:pt>
                <c:pt idx="14">
                  <c:v>0.49528550472245875</c:v>
                </c:pt>
                <c:pt idx="15">
                  <c:v>0.50260020755256818</c:v>
                </c:pt>
                <c:pt idx="16">
                  <c:v>0.50970591887324568</c:v>
                </c:pt>
                <c:pt idx="17">
                  <c:v>0.51661146931165058</c:v>
                </c:pt>
                <c:pt idx="18">
                  <c:v>0.52332519890454454</c:v>
                </c:pt>
                <c:pt idx="19">
                  <c:v>0.52985499070037256</c:v>
                </c:pt>
                <c:pt idx="20">
                  <c:v>0.53620830163685407</c:v>
                </c:pt>
                <c:pt idx="21">
                  <c:v>0.542392190948362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Hawaiian Tropic Sheer Touch Lotion FPS50+ 240ml (4.4%)</c:v>
                </c:pt>
                <c:pt idx="5">
                  <c:v>Hawaiian Tropic Island Sport Lotion FPS50 240ml (3.6%)</c:v>
                </c:pt>
                <c:pt idx="6">
                  <c:v>Nivea Sun Protection Sensitive Skin Gel FPS50+ 200ml (5.1%)</c:v>
                </c:pt>
                <c:pt idx="7">
                  <c:v>Equate Sport Lotion FPS30 237ml (2.0%)</c:v>
                </c:pt>
                <c:pt idx="8">
                  <c:v>Caribbean Beach Advanced Protection Cream FPS50+ 150g (1.0%)</c:v>
                </c:pt>
                <c:pt idx="9">
                  <c:v>Equate Ultra Spray FPS50 156g (1.7%)</c:v>
                </c:pt>
              </c:strCache>
            </c:strRef>
          </c:cat>
          <c:val>
            <c:numRef>
              <c:f>Sheet1!$B$2:$B$11</c:f>
              <c:numCache>
                <c:formatCode>General</c:formatCode>
                <c:ptCount val="10"/>
                <c:pt idx="0">
                  <c:v>7.1898594127137894E-2</c:v>
                </c:pt>
                <c:pt idx="1">
                  <c:v>4.9823667482692666E-2</c:v>
                </c:pt>
                <c:pt idx="2">
                  <c:v>4.602588852654646E-2</c:v>
                </c:pt>
                <c:pt idx="3">
                  <c:v>4.5951000193343437E-2</c:v>
                </c:pt>
                <c:pt idx="4">
                  <c:v>4.5533273023988477E-2</c:v>
                </c:pt>
                <c:pt idx="5">
                  <c:v>3.7615659730039011E-2</c:v>
                </c:pt>
                <c:pt idx="6">
                  <c:v>3.677778768938645E-2</c:v>
                </c:pt>
                <c:pt idx="7">
                  <c:v>2.9544412644334741E-2</c:v>
                </c:pt>
                <c:pt idx="8">
                  <c:v>2.6841518394955868E-2</c:v>
                </c:pt>
                <c:pt idx="9">
                  <c:v>2.673406296368258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amp; Hydration Lotion FPS50+ 125ml (4.5%)</c:v>
                </c:pt>
                <c:pt idx="4">
                  <c:v>Banana Boat Aqua Protect Sport Lotion FPS50+ 236ml (3.1%)</c:v>
                </c:pt>
                <c:pt idx="5">
                  <c:v>Nivea Sun Protection Sensitive Skin Gel FPS50+ 200ml (5.1%)</c:v>
                </c:pt>
                <c:pt idx="6">
                  <c:v>Hawaiian Tropic Sheer Touch Lotion FPS50+ 240ml (4.4%)</c:v>
                </c:pt>
                <c:pt idx="7">
                  <c:v>Equate Sport Lotion FPS30 237ml (2.0%)</c:v>
                </c:pt>
                <c:pt idx="8">
                  <c:v>Hawaiian Tropic Island Sport Lotion FPS50 240ml (3.6%)</c:v>
                </c:pt>
                <c:pt idx="9">
                  <c:v>Equate Ultra Spray FPS50 156g (1.7%)</c:v>
                </c:pt>
              </c:strCache>
            </c:strRef>
          </c:cat>
          <c:val>
            <c:numRef>
              <c:f>Sheet1!$B$2:$B$11</c:f>
              <c:numCache>
                <c:formatCode>General</c:formatCode>
                <c:ptCount val="10"/>
                <c:pt idx="0">
                  <c:v>7.8499597133306676E-2</c:v>
                </c:pt>
                <c:pt idx="1">
                  <c:v>5.4860112256719815E-2</c:v>
                </c:pt>
                <c:pt idx="2">
                  <c:v>4.9352528289586937E-2</c:v>
                </c:pt>
                <c:pt idx="3">
                  <c:v>4.6238881784884243E-2</c:v>
                </c:pt>
                <c:pt idx="4">
                  <c:v>3.6703360760759557E-2</c:v>
                </c:pt>
                <c:pt idx="5">
                  <c:v>3.5184225500401074E-2</c:v>
                </c:pt>
                <c:pt idx="6">
                  <c:v>3.4596495213551529E-2</c:v>
                </c:pt>
                <c:pt idx="7">
                  <c:v>3.405890609820876E-2</c:v>
                </c:pt>
                <c:pt idx="8">
                  <c:v>2.9644138163190031E-2</c:v>
                </c:pt>
                <c:pt idx="9">
                  <c:v>2.649202289174755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17.85196970420664</c:v>
                </c:pt>
                <c:pt idx="1">
                  <c:v>113.26484420980485</c:v>
                </c:pt>
                <c:pt idx="2">
                  <c:v>109.29618979766795</c:v>
                </c:pt>
                <c:pt idx="3">
                  <c:v>105.82223642191666</c:v>
                </c:pt>
                <c:pt idx="4">
                  <c:v>102.7479835048164</c:v>
                </c:pt>
                <c:pt idx="5">
                  <c:v>100</c:v>
                </c:pt>
                <c:pt idx="6">
                  <c:v>96.699964345559479</c:v>
                </c:pt>
                <c:pt idx="7">
                  <c:v>93.630639520424268</c:v>
                </c:pt>
                <c:pt idx="8">
                  <c:v>90.762209925397499</c:v>
                </c:pt>
                <c:pt idx="9">
                  <c:v>88.070330860722351</c:v>
                </c:pt>
                <c:pt idx="10">
                  <c:v>87.151486254866668</c:v>
                </c:pt>
                <c:pt idx="11">
                  <c:v>86.245570654982956</c:v>
                </c:pt>
                <c:pt idx="12">
                  <c:v>85.352348735754063</c:v>
                </c:pt>
                <c:pt idx="13">
                  <c:v>84.471590063627843</c:v>
                </c:pt>
                <c:pt idx="14">
                  <c:v>83.60306899789526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04.16229115940456</c:v>
                </c:pt>
                <c:pt idx="1">
                  <c:v>102.73970024395993</c:v>
                </c:pt>
                <c:pt idx="2">
                  <c:v>101.67914412142001</c:v>
                </c:pt>
                <c:pt idx="3">
                  <c:v>100.90574437224915</c:v>
                </c:pt>
                <c:pt idx="4">
                  <c:v>100.36121368740073</c:v>
                </c:pt>
                <c:pt idx="5">
                  <c:v>100</c:v>
                </c:pt>
                <c:pt idx="6">
                  <c:v>98.945692666054427</c:v>
                </c:pt>
                <c:pt idx="7">
                  <c:v>97.979556068834938</c:v>
                </c:pt>
                <c:pt idx="8">
                  <c:v>97.08577059111559</c:v>
                </c:pt>
                <c:pt idx="9">
                  <c:v>96.251726050903912</c:v>
                </c:pt>
                <c:pt idx="10">
                  <c:v>97.271034741296631</c:v>
                </c:pt>
                <c:pt idx="11">
                  <c:v>98.262346350359195</c:v>
                </c:pt>
                <c:pt idx="12">
                  <c:v>99.226292287580947</c:v>
                </c:pt>
                <c:pt idx="13">
                  <c:v>100.16348767326706</c:v>
                </c:pt>
                <c:pt idx="14">
                  <c:v>101.074531798450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92.943194923320988</c:v>
                </c:pt>
                <c:pt idx="1">
                  <c:v>94.113439259372839</c:v>
                </c:pt>
                <c:pt idx="2">
                  <c:v>95.435916526485457</c:v>
                </c:pt>
                <c:pt idx="3">
                  <c:v>96.875751232203086</c:v>
                </c:pt>
                <c:pt idx="4">
                  <c:v>98.404693550927334</c:v>
                </c:pt>
                <c:pt idx="5">
                  <c:v>100</c:v>
                </c:pt>
                <c:pt idx="6">
                  <c:v>100.7875967190339</c:v>
                </c:pt>
                <c:pt idx="7">
                  <c:v>101.54641561906092</c:v>
                </c:pt>
                <c:pt idx="8">
                  <c:v>102.27211740333668</c:v>
                </c:pt>
                <c:pt idx="9">
                  <c:v>102.96171734696455</c:v>
                </c:pt>
                <c:pt idx="10">
                  <c:v>105.57151562213521</c:v>
                </c:pt>
                <c:pt idx="11">
                  <c:v>108.11984056173959</c:v>
                </c:pt>
                <c:pt idx="12">
                  <c:v>110.60802678526296</c:v>
                </c:pt>
                <c:pt idx="13">
                  <c:v>113.03737566818499</c:v>
                </c:pt>
                <c:pt idx="14">
                  <c:v>115.40915623933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49096625027309826</c:v>
                </c:pt>
                <c:pt idx="1">
                  <c:v>0.50401839770199319</c:v>
                </c:pt>
                <c:pt idx="2">
                  <c:v>0.51641793775944334</c:v>
                </c:pt>
                <c:pt idx="3">
                  <c:v>0.52821262220433507</c:v>
                </c:pt>
                <c:pt idx="4">
                  <c:v>0.53944565500899377</c:v>
                </c:pt>
                <c:pt idx="5">
                  <c:v>0.55015622117157525</c:v>
                </c:pt>
                <c:pt idx="6">
                  <c:v>0.56037994341767572</c:v>
                </c:pt>
                <c:pt idx="7">
                  <c:v>0.57014927800839388</c:v>
                </c:pt>
                <c:pt idx="8">
                  <c:v>0.57949385892125505</c:v>
                </c:pt>
                <c:pt idx="9">
                  <c:v>0.5884407980931432</c:v>
                </c:pt>
                <c:pt idx="10">
                  <c:v>0.59701494813286959</c:v>
                </c:pt>
                <c:pt idx="11">
                  <c:v>0.60523913286485176</c:v>
                </c:pt>
                <c:pt idx="12">
                  <c:v>0.6131343502075548</c:v>
                </c:pt>
                <c:pt idx="13">
                  <c:v>0.62071995118387713</c:v>
                </c:pt>
                <c:pt idx="14">
                  <c:v>0.628013798276494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Sport Lotion FPS30 237ml (2.0%)</c:v>
                </c:pt>
                <c:pt idx="3">
                  <c:v>Equate Ultra Spray FPS50 156g (1.7%)</c:v>
                </c:pt>
                <c:pt idx="4">
                  <c:v>Hawaiian Tropic Ozono Lotion FPS50+ 240ml (4.4%)</c:v>
                </c:pt>
                <c:pt idx="5">
                  <c:v>Nivea Sun Protect &amp; Refresh Sport Lotion FPS50 200ml (5.8%)</c:v>
                </c:pt>
                <c:pt idx="6">
                  <c:v>Nivea Sun Protection Sensitive Skin Gel FPS50+ 200ml (5.1%)</c:v>
                </c:pt>
                <c:pt idx="7">
                  <c:v>Hawaiian Tropic Sheer Touch Lotion FPS50+ 240ml (4.4%)</c:v>
                </c:pt>
                <c:pt idx="8">
                  <c:v>Banana Boat Advanced Protection Lotion FPS50+ 240ml (2.8%)</c:v>
                </c:pt>
                <c:pt idx="9">
                  <c:v>Hawaiian Tropic Island Sport Lotion FPS50 240ml (3.6%)</c:v>
                </c:pt>
              </c:strCache>
            </c:strRef>
          </c:cat>
          <c:val>
            <c:numRef>
              <c:f>Sheet1!$B$2:$B$11</c:f>
              <c:numCache>
                <c:formatCode>General</c:formatCode>
                <c:ptCount val="10"/>
                <c:pt idx="0">
                  <c:v>6.2948584521344705E-2</c:v>
                </c:pt>
                <c:pt idx="1">
                  <c:v>5.3268850745401296E-2</c:v>
                </c:pt>
                <c:pt idx="2">
                  <c:v>4.2658334073890788E-2</c:v>
                </c:pt>
                <c:pt idx="3">
                  <c:v>4.1840887292482219E-2</c:v>
                </c:pt>
                <c:pt idx="4">
                  <c:v>4.1306609505925143E-2</c:v>
                </c:pt>
                <c:pt idx="5">
                  <c:v>4.1065304647232868E-2</c:v>
                </c:pt>
                <c:pt idx="6">
                  <c:v>3.6708327742805538E-2</c:v>
                </c:pt>
                <c:pt idx="7">
                  <c:v>3.5543923385467989E-2</c:v>
                </c:pt>
                <c:pt idx="8">
                  <c:v>3.5381114790461153E-2</c:v>
                </c:pt>
                <c:pt idx="9">
                  <c:v>3.14445070167785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Lotion FPS50+ 125ml (4.5%)</c:v>
                </c:pt>
                <c:pt idx="2">
                  <c:v>Nivea Sun Protection &amp; Hydration Cream FPS50+ 200ml (9.5%)</c:v>
                </c:pt>
                <c:pt idx="3">
                  <c:v>Equate Ultra Spray FPS50 156g (1.7%)</c:v>
                </c:pt>
                <c:pt idx="4">
                  <c:v>Banana Boat Aqua Protect Sport Lotion FPS50+ 236ml (3.1%)</c:v>
                </c:pt>
                <c:pt idx="5">
                  <c:v>Banana Boat Dry Balance Sport Spray FPS50 170ml (1.2%)</c:v>
                </c:pt>
                <c:pt idx="6">
                  <c:v>Equate Sport Lotion FPS30 237ml (2.0%)</c:v>
                </c:pt>
                <c:pt idx="7">
                  <c:v>Nivea Sun Protect &amp; Refresh Sport Spray FPS50 200ml (2.3%)</c:v>
                </c:pt>
                <c:pt idx="8">
                  <c:v>Nivea Sun Protection Sensitive Skin Gel FPS50+ 200ml (5.1%)</c:v>
                </c:pt>
                <c:pt idx="9">
                  <c:v>Hawaiian Tropic Ozono Lotion FPS50+ 240ml (4.4%)</c:v>
                </c:pt>
              </c:strCache>
            </c:strRef>
          </c:cat>
          <c:val>
            <c:numRef>
              <c:f>Sheet1!$B$2:$B$11</c:f>
              <c:numCache>
                <c:formatCode>General</c:formatCode>
                <c:ptCount val="10"/>
                <c:pt idx="0">
                  <c:v>6.3622368821962288E-2</c:v>
                </c:pt>
                <c:pt idx="1">
                  <c:v>5.8922651971982543E-2</c:v>
                </c:pt>
                <c:pt idx="2">
                  <c:v>4.9749246911446915E-2</c:v>
                </c:pt>
                <c:pt idx="3">
                  <c:v>4.1277444824929108E-2</c:v>
                </c:pt>
                <c:pt idx="4">
                  <c:v>3.3909159102534607E-2</c:v>
                </c:pt>
                <c:pt idx="5">
                  <c:v>3.3320268506164853E-2</c:v>
                </c:pt>
                <c:pt idx="6">
                  <c:v>3.2032099982765086E-2</c:v>
                </c:pt>
                <c:pt idx="7">
                  <c:v>2.965614379475125E-2</c:v>
                </c:pt>
                <c:pt idx="8">
                  <c:v>2.6733445349503317E-2</c:v>
                </c:pt>
                <c:pt idx="9">
                  <c:v>2.494891391562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55.85408320297321</c:v>
                </c:pt>
                <c:pt idx="1">
                  <c:v>149.55848971652404</c:v>
                </c:pt>
                <c:pt idx="2">
                  <c:v>147.82254080738397</c:v>
                </c:pt>
                <c:pt idx="3">
                  <c:v>146.12018891387021</c:v>
                </c:pt>
                <c:pt idx="4">
                  <c:v>144.45030998662821</c:v>
                </c:pt>
                <c:pt idx="5">
                  <c:v>122.08775267845226</c:v>
                </c:pt>
                <c:pt idx="6">
                  <c:v>103.08710422121199</c:v>
                </c:pt>
                <c:pt idx="7">
                  <c:v>101.47340677541177</c:v>
                </c:pt>
                <c:pt idx="8">
                  <c:v>100</c:v>
                </c:pt>
                <c:pt idx="9">
                  <c:v>98.641487296521234</c:v>
                </c:pt>
                <c:pt idx="10">
                  <c:v>92.081678092042594</c:v>
                </c:pt>
                <c:pt idx="11">
                  <c:v>86.300067683740949</c:v>
                </c:pt>
                <c:pt idx="12">
                  <c:v>81.212156613956353</c:v>
                </c:pt>
                <c:pt idx="13">
                  <c:v>76.72564782439558</c:v>
                </c:pt>
                <c:pt idx="14">
                  <c:v>74.807871671564044</c:v>
                </c:pt>
                <c:pt idx="15">
                  <c:v>72.971034818130832</c:v>
                </c:pt>
                <c:pt idx="16">
                  <c:v>71.210322621614964</c:v>
                </c:pt>
                <c:pt idx="17">
                  <c:v>68.558793578400198</c:v>
                </c:pt>
                <c:pt idx="18">
                  <c:v>66.119347763558793</c:v>
                </c:pt>
                <c:pt idx="19">
                  <c:v>63.870793166030182</c:v>
                </c:pt>
                <c:pt idx="20">
                  <c:v>61.79353117591485</c:v>
                </c:pt>
                <c:pt idx="21">
                  <c:v>59.86964034772950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36.61802028503436</c:v>
                </c:pt>
                <c:pt idx="1">
                  <c:v>133.43000530012941</c:v>
                </c:pt>
                <c:pt idx="2">
                  <c:v>134.22166232650079</c:v>
                </c:pt>
                <c:pt idx="3">
                  <c:v>134.98858648261046</c:v>
                </c:pt>
                <c:pt idx="4">
                  <c:v>135.73137261575926</c:v>
                </c:pt>
                <c:pt idx="5">
                  <c:v>116.45187397758458</c:v>
                </c:pt>
                <c:pt idx="6">
                  <c:v>99.822773681564442</c:v>
                </c:pt>
                <c:pt idx="7">
                  <c:v>99.866566830636543</c:v>
                </c:pt>
                <c:pt idx="8">
                  <c:v>100</c:v>
                </c:pt>
                <c:pt idx="9">
                  <c:v>100.20377182752887</c:v>
                </c:pt>
                <c:pt idx="10">
                  <c:v>94.97545210119786</c:v>
                </c:pt>
                <c:pt idx="11">
                  <c:v>90.360644710309501</c:v>
                </c:pt>
                <c:pt idx="12">
                  <c:v>86.30500742649248</c:v>
                </c:pt>
                <c:pt idx="13">
                  <c:v>82.740746278465181</c:v>
                </c:pt>
                <c:pt idx="14">
                  <c:v>81.854496122445994</c:v>
                </c:pt>
                <c:pt idx="15">
                  <c:v>80.997762355674297</c:v>
                </c:pt>
                <c:pt idx="16">
                  <c:v>80.168928166860439</c:v>
                </c:pt>
                <c:pt idx="17">
                  <c:v>78.266092837372852</c:v>
                </c:pt>
                <c:pt idx="18">
                  <c:v>76.525702213441676</c:v>
                </c:pt>
                <c:pt idx="19">
                  <c:v>74.932792333344821</c:v>
                </c:pt>
                <c:pt idx="20">
                  <c:v>73.472983518364416</c:v>
                </c:pt>
                <c:pt idx="21">
                  <c:v>72.1327019879764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24.93167675058281</c:v>
                </c:pt>
                <c:pt idx="1">
                  <c:v>123.59433290182909</c:v>
                </c:pt>
                <c:pt idx="2">
                  <c:v>125.82586643865083</c:v>
                </c:pt>
                <c:pt idx="3">
                  <c:v>128.00072510340675</c:v>
                </c:pt>
                <c:pt idx="4">
                  <c:v>130.12039605115851</c:v>
                </c:pt>
                <c:pt idx="5">
                  <c:v>113.0041429481283</c:v>
                </c:pt>
                <c:pt idx="6">
                  <c:v>97.97382571220939</c:v>
                </c:pt>
                <c:pt idx="7">
                  <c:v>98.956788455303695</c:v>
                </c:pt>
                <c:pt idx="8">
                  <c:v>100</c:v>
                </c:pt>
                <c:pt idx="9">
                  <c:v>101.08787184141552</c:v>
                </c:pt>
                <c:pt idx="10">
                  <c:v>96.649070582286342</c:v>
                </c:pt>
                <c:pt idx="11">
                  <c:v>92.720991300905851</c:v>
                </c:pt>
                <c:pt idx="12">
                  <c:v>89.268651715279603</c:v>
                </c:pt>
                <c:pt idx="13">
                  <c:v>86.239922404946299</c:v>
                </c:pt>
                <c:pt idx="14">
                  <c:v>85.939627250853746</c:v>
                </c:pt>
                <c:pt idx="15">
                  <c:v>85.639198253985541</c:v>
                </c:pt>
                <c:pt idx="16">
                  <c:v>85.338887587370323</c:v>
                </c:pt>
                <c:pt idx="17">
                  <c:v>83.861589578459899</c:v>
                </c:pt>
                <c:pt idx="18">
                  <c:v>82.517453157187035</c:v>
                </c:pt>
                <c:pt idx="19">
                  <c:v>81.29528443327888</c:v>
                </c:pt>
                <c:pt idx="20">
                  <c:v>80.18385481595972</c:v>
                </c:pt>
                <c:pt idx="21">
                  <c:v>79.1722093711689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85432144208519</c:v>
                </c:pt>
                <c:pt idx="1">
                  <c:v>0.60584242870410909</c:v>
                </c:pt>
                <c:pt idx="2">
                  <c:v>0.61288095676296428</c:v>
                </c:pt>
                <c:pt idx="3">
                  <c:v>0.61967251892501751</c:v>
                </c:pt>
                <c:pt idx="4">
                  <c:v>0.62622988928837919</c:v>
                </c:pt>
                <c:pt idx="5">
                  <c:v>0.63256497591061012</c:v>
                </c:pt>
                <c:pt idx="6">
                  <c:v>0.63868889297876652</c:v>
                </c:pt>
                <c:pt idx="7">
                  <c:v>0.64461202588075395</c:v>
                </c:pt>
                <c:pt idx="8">
                  <c:v>0.65034408997945148</c:v>
                </c:pt>
                <c:pt idx="9">
                  <c:v>0.65589418378930153</c:v>
                </c:pt>
                <c:pt idx="10">
                  <c:v>0.66127083716759372</c:v>
                </c:pt>
                <c:pt idx="11">
                  <c:v>0.66648205505732305</c:v>
                </c:pt>
                <c:pt idx="12">
                  <c:v>0.67153535725342417</c:v>
                </c:pt>
                <c:pt idx="13">
                  <c:v>0.67643781460785057</c:v>
                </c:pt>
                <c:pt idx="14">
                  <c:v>0.68119608204008808</c:v>
                </c:pt>
                <c:pt idx="15">
                  <c:v>0.68581642867718828</c:v>
                </c:pt>
                <c:pt idx="16">
                  <c:v>0.69030476541037145</c:v>
                </c:pt>
                <c:pt idx="17">
                  <c:v>0.6946666701229014</c:v>
                </c:pt>
                <c:pt idx="18">
                  <c:v>0.6989074108156389</c:v>
                </c:pt>
                <c:pt idx="19">
                  <c:v>0.70303196683186298</c:v>
                </c:pt>
                <c:pt idx="20">
                  <c:v>0.70704504836116211</c:v>
                </c:pt>
                <c:pt idx="21">
                  <c:v>0.7109511143830132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qua Protect Cream FPS50+ 236ml (2.7%)</c:v>
                </c:pt>
                <c:pt idx="5">
                  <c:v>Nivea Sun Protection Sensitive Skin Gel FPS50+ 200ml (5.1%)</c:v>
                </c:pt>
                <c:pt idx="6">
                  <c:v>Nivea Sun Protection &amp; Hydration Lotion FPS50+ 125ml (4.5%)</c:v>
                </c:pt>
                <c:pt idx="7">
                  <c:v>Nivea Sun Protect &amp; Refresh Sport Lotion FPS50 200ml (5.8%)</c:v>
                </c:pt>
                <c:pt idx="8">
                  <c:v>Hawaiian Tropic Sheer Touch Lotion FPS30 240ml (1.7%)</c:v>
                </c:pt>
                <c:pt idx="9">
                  <c:v>Banana Boat Aqua Protect Sport Lotion FPS50+ 236ml (3.1%)</c:v>
                </c:pt>
              </c:strCache>
            </c:strRef>
          </c:cat>
          <c:val>
            <c:numRef>
              <c:f>Sheet1!$B$2:$B$11</c:f>
              <c:numCache>
                <c:formatCode>General</c:formatCode>
                <c:ptCount val="10"/>
                <c:pt idx="0">
                  <c:v>0.1125290390680722</c:v>
                </c:pt>
                <c:pt idx="1">
                  <c:v>9.766611893311955E-2</c:v>
                </c:pt>
                <c:pt idx="2">
                  <c:v>8.3812207857812349E-2</c:v>
                </c:pt>
                <c:pt idx="3">
                  <c:v>6.9612806672645688E-2</c:v>
                </c:pt>
                <c:pt idx="4">
                  <c:v>6.2534181846966103E-2</c:v>
                </c:pt>
                <c:pt idx="5">
                  <c:v>5.8622286555361856E-2</c:v>
                </c:pt>
                <c:pt idx="6">
                  <c:v>4.1198331069324134E-2</c:v>
                </c:pt>
                <c:pt idx="7">
                  <c:v>3.6906323854267321E-2</c:v>
                </c:pt>
                <c:pt idx="8">
                  <c:v>3.3189270815202628E-2</c:v>
                </c:pt>
                <c:pt idx="9">
                  <c:v>3.30746605264338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Banana Boat Aqua Protect Cream FPS50+ 236ml (2.7%)</c:v>
                </c:pt>
                <c:pt idx="3">
                  <c:v>Hawaiian Tropic Island Sport Lotion FPS50 240ml (3.6%)</c:v>
                </c:pt>
                <c:pt idx="4">
                  <c:v>Hawaiian Tropic Ozono Lotion FPS50+ 240ml (4.4%)</c:v>
                </c:pt>
                <c:pt idx="5">
                  <c:v>Nivea Sun Protection Sensitive Skin Gel FPS50+ 200ml (5.1%)</c:v>
                </c:pt>
                <c:pt idx="6">
                  <c:v>Banana Boat Aqua Protect Sport Lotion FPS50+ 236ml (3.1%)</c:v>
                </c:pt>
                <c:pt idx="7">
                  <c:v>Hawaiian Tropic Sheer Touch Lotion FPS30 240ml (1.7%)</c:v>
                </c:pt>
                <c:pt idx="8">
                  <c:v>Nivea Sun Protect &amp; Refresh Sport Lotion FPS50 200ml (5.8%)</c:v>
                </c:pt>
                <c:pt idx="9">
                  <c:v>Nivea Sun Protection &amp; Hydration Lotion FPS50+ 125ml (4.5%)</c:v>
                </c:pt>
              </c:strCache>
            </c:strRef>
          </c:cat>
          <c:val>
            <c:numRef>
              <c:f>Sheet1!$B$2:$B$11</c:f>
              <c:numCache>
                <c:formatCode>General</c:formatCode>
                <c:ptCount val="10"/>
                <c:pt idx="0">
                  <c:v>0.10782895619350356</c:v>
                </c:pt>
                <c:pt idx="1">
                  <c:v>9.4149819231811122E-2</c:v>
                </c:pt>
                <c:pt idx="2">
                  <c:v>8.322646725133051E-2</c:v>
                </c:pt>
                <c:pt idx="3">
                  <c:v>6.9805922550125674E-2</c:v>
                </c:pt>
                <c:pt idx="4">
                  <c:v>6.7416074098599926E-2</c:v>
                </c:pt>
                <c:pt idx="5">
                  <c:v>5.5224880028919003E-2</c:v>
                </c:pt>
                <c:pt idx="6">
                  <c:v>5.3245281346329117E-2</c:v>
                </c:pt>
                <c:pt idx="7">
                  <c:v>3.9167921841291226E-2</c:v>
                </c:pt>
                <c:pt idx="8">
                  <c:v>3.8804505158195585E-2</c:v>
                </c:pt>
                <c:pt idx="9">
                  <c:v>3.865582097746502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Lotion FPS50+ 36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5</c:v>
                </c:pt>
                <c:pt idx="1">
                  <c:v>335</c:v>
                </c:pt>
                <c:pt idx="2">
                  <c:v>370</c:v>
                </c:pt>
                <c:pt idx="3">
                  <c:v>395</c:v>
                </c:pt>
                <c:pt idx="4">
                  <c:v>430</c:v>
                </c:pt>
              </c:numCache>
            </c:numRef>
          </c:xVal>
          <c:yVal>
            <c:numRef>
              <c:f>Sheet1!$B$2:$B$6</c:f>
              <c:numCache>
                <c:formatCode>General</c:formatCode>
                <c:ptCount val="5"/>
                <c:pt idx="0">
                  <c:v>0.50427928282927525</c:v>
                </c:pt>
                <c:pt idx="1">
                  <c:v>0.20317794469656345</c:v>
                </c:pt>
                <c:pt idx="2">
                  <c:v>0</c:v>
                </c:pt>
                <c:pt idx="3">
                  <c:v>-0.14605814917767412</c:v>
                </c:pt>
                <c:pt idx="4">
                  <c:v>-0.3443807184502689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5"/>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Isdin (1.8%)</c:v>
                </c:pt>
                <c:pt idx="6">
                  <c:v>Garnier (1.7%)</c:v>
                </c:pt>
                <c:pt idx="7">
                  <c:v>La Roche-Posay (1.9%)</c:v>
                </c:pt>
                <c:pt idx="8">
                  <c:v>Nuvel (2.3%)</c:v>
                </c:pt>
                <c:pt idx="9">
                  <c:v>Eucerin (1.1%)</c:v>
                </c:pt>
              </c:strCache>
            </c:strRef>
          </c:cat>
          <c:val>
            <c:numRef>
              <c:f>Sheet1!$B$2:$B$11</c:f>
              <c:numCache>
                <c:formatCode>General</c:formatCode>
                <c:ptCount val="10"/>
                <c:pt idx="0">
                  <c:v>0.4175471260239712</c:v>
                </c:pt>
                <c:pt idx="1">
                  <c:v>0.17676658337251769</c:v>
                </c:pt>
                <c:pt idx="2">
                  <c:v>0.10545776663491692</c:v>
                </c:pt>
                <c:pt idx="3">
                  <c:v>6.8362376341264186E-2</c:v>
                </c:pt>
                <c:pt idx="4">
                  <c:v>5.9428372289544659E-2</c:v>
                </c:pt>
                <c:pt idx="5">
                  <c:v>3.5604539584786835E-2</c:v>
                </c:pt>
                <c:pt idx="6">
                  <c:v>3.4628811095822748E-2</c:v>
                </c:pt>
                <c:pt idx="7">
                  <c:v>2.4598080091871932E-2</c:v>
                </c:pt>
                <c:pt idx="8">
                  <c:v>2.3949768521075779E-2</c:v>
                </c:pt>
                <c:pt idx="9">
                  <c:v>2.24106725242098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0.42792828292755</c:v>
                </c:pt>
                <c:pt idx="1">
                  <c:v>141.49048916115845</c:v>
                </c:pt>
                <c:pt idx="2">
                  <c:v>133.56367030051192</c:v>
                </c:pt>
                <c:pt idx="3">
                  <c:v>126.54344727085748</c:v>
                </c:pt>
                <c:pt idx="4">
                  <c:v>120.31779446965632</c:v>
                </c:pt>
                <c:pt idx="5">
                  <c:v>117.45890140302593</c:v>
                </c:pt>
                <c:pt idx="6">
                  <c:v>114.73409041299745</c:v>
                </c:pt>
                <c:pt idx="7">
                  <c:v>112.13415486647833</c:v>
                </c:pt>
                <c:pt idx="8">
                  <c:v>108.78079938370489</c:v>
                </c:pt>
                <c:pt idx="9">
                  <c:v>105.65514974817498</c:v>
                </c:pt>
                <c:pt idx="10">
                  <c:v>102.73497737336112</c:v>
                </c:pt>
                <c:pt idx="11">
                  <c:v>100</c:v>
                </c:pt>
                <c:pt idx="12">
                  <c:v>97.4319316019387</c:v>
                </c:pt>
                <c:pt idx="13">
                  <c:v>95.01443054911428</c:v>
                </c:pt>
                <c:pt idx="14">
                  <c:v>92.73298351551604</c:v>
                </c:pt>
                <c:pt idx="15">
                  <c:v>88.954276138906451</c:v>
                </c:pt>
                <c:pt idx="16">
                  <c:v>85.394185082232596</c:v>
                </c:pt>
                <c:pt idx="17">
                  <c:v>82.039456100917846</c:v>
                </c:pt>
                <c:pt idx="18">
                  <c:v>78.877512517034418</c:v>
                </c:pt>
                <c:pt idx="19">
                  <c:v>75.896413489318391</c:v>
                </c:pt>
                <c:pt idx="20">
                  <c:v>73.084814180221883</c:v>
                </c:pt>
                <c:pt idx="21">
                  <c:v>70.431934760261925</c:v>
                </c:pt>
                <c:pt idx="22">
                  <c:v>67.927540039814446</c:v>
                </c:pt>
                <c:pt idx="23">
                  <c:v>65.5619281549730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28.68434748669429</c:v>
                </c:pt>
                <c:pt idx="1">
                  <c:v>122.87043473407732</c:v>
                </c:pt>
                <c:pt idx="2">
                  <c:v>117.72146019412919</c:v>
                </c:pt>
                <c:pt idx="3">
                  <c:v>113.18220850772045</c:v>
                </c:pt>
                <c:pt idx="4">
                  <c:v>109.18510717080412</c:v>
                </c:pt>
                <c:pt idx="5">
                  <c:v>108.143095397793</c:v>
                </c:pt>
                <c:pt idx="6">
                  <c:v>107.15125032308543</c:v>
                </c:pt>
                <c:pt idx="7">
                  <c:v>106.20609846108668</c:v>
                </c:pt>
                <c:pt idx="8">
                  <c:v>104.46629473912739</c:v>
                </c:pt>
                <c:pt idx="9">
                  <c:v>102.86060692193885</c:v>
                </c:pt>
                <c:pt idx="10">
                  <c:v>101.37593954820562</c:v>
                </c:pt>
                <c:pt idx="11">
                  <c:v>100</c:v>
                </c:pt>
                <c:pt idx="12">
                  <c:v>98.721472813780878</c:v>
                </c:pt>
                <c:pt idx="13">
                  <c:v>97.530094020880895</c:v>
                </c:pt>
                <c:pt idx="14">
                  <c:v>96.416655145785739</c:v>
                </c:pt>
                <c:pt idx="15">
                  <c:v>93.65206794776195</c:v>
                </c:pt>
                <c:pt idx="16">
                  <c:v>91.022861159613726</c:v>
                </c:pt>
                <c:pt idx="17">
                  <c:v>88.523095494958667</c:v>
                </c:pt>
                <c:pt idx="18">
                  <c:v>86.146909603380976</c:v>
                </c:pt>
                <c:pt idx="19">
                  <c:v>83.888514090194491</c:v>
                </c:pt>
                <c:pt idx="20">
                  <c:v>81.742184827377457</c:v>
                </c:pt>
                <c:pt idx="21">
                  <c:v>79.702263602113305</c:v>
                </c:pt>
                <c:pt idx="22">
                  <c:v>77.763168934089748</c:v>
                </c:pt>
                <c:pt idx="23">
                  <c:v>75.9194161644920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9.6749915141225</c:v>
                </c:pt>
                <c:pt idx="1">
                  <c:v>106.6435209516208</c:v>
                </c:pt>
                <c:pt idx="2">
                  <c:v>103.95842898391103</c:v>
                </c:pt>
                <c:pt idx="3">
                  <c:v>101.61085704339553</c:v>
                </c:pt>
                <c:pt idx="4">
                  <c:v>99.575076929785467</c:v>
                </c:pt>
                <c:pt idx="5">
                  <c:v>100.10189050829459</c:v>
                </c:pt>
                <c:pt idx="6">
                  <c:v>100.60545454186816</c:v>
                </c:pt>
                <c:pt idx="7">
                  <c:v>101.08737609568806</c:v>
                </c:pt>
                <c:pt idx="8">
                  <c:v>100.74347953187836</c:v>
                </c:pt>
                <c:pt idx="9">
                  <c:v>100.45089656299437</c:v>
                </c:pt>
                <c:pt idx="10">
                  <c:v>100.20477021119672</c:v>
                </c:pt>
                <c:pt idx="11">
                  <c:v>100</c:v>
                </c:pt>
                <c:pt idx="12">
                  <c:v>99.831532764713288</c:v>
                </c:pt>
                <c:pt idx="13">
                  <c:v>99.694554083101195</c:v>
                </c:pt>
                <c:pt idx="14">
                  <c:v>99.584603043511663</c:v>
                </c:pt>
                <c:pt idx="15">
                  <c:v>97.717513445081096</c:v>
                </c:pt>
                <c:pt idx="16">
                  <c:v>95.909833414787954</c:v>
                </c:pt>
                <c:pt idx="17">
                  <c:v>94.162502684297266</c:v>
                </c:pt>
                <c:pt idx="18">
                  <c:v>92.475949636001843</c:v>
                </c:pt>
                <c:pt idx="19">
                  <c:v>90.850124788275394</c:v>
                </c:pt>
                <c:pt idx="20">
                  <c:v>89.28453043177592</c:v>
                </c:pt>
                <c:pt idx="21">
                  <c:v>87.778255393386488</c:v>
                </c:pt>
                <c:pt idx="22">
                  <c:v>86.330018726461418</c:v>
                </c:pt>
                <c:pt idx="23">
                  <c:v>84.93822212116442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698950115320375</c:v>
                </c:pt>
                <c:pt idx="1">
                  <c:v>0.47817790197684951</c:v>
                </c:pt>
                <c:pt idx="2">
                  <c:v>0.48620593425412878</c:v>
                </c:pt>
                <c:pt idx="3">
                  <c:v>0.4939906928260358</c:v>
                </c:pt>
                <c:pt idx="4">
                  <c:v>0.5015430705450501</c:v>
                </c:pt>
                <c:pt idx="5">
                  <c:v>0.50887331950762282</c:v>
                </c:pt>
                <c:pt idx="6">
                  <c:v>0.51599109748577332</c:v>
                </c:pt>
                <c:pt idx="7">
                  <c:v>0.52290551037883382</c:v>
                </c:pt>
                <c:pt idx="8">
                  <c:v>0.52962515107772346</c:v>
                </c:pt>
                <c:pt idx="9">
                  <c:v>0.53615813509053301</c:v>
                </c:pt>
                <c:pt idx="10">
                  <c:v>0.5425121332399776</c:v>
                </c:pt>
                <c:pt idx="11">
                  <c:v>0.54869440170970762</c:v>
                </c:pt>
                <c:pt idx="12">
                  <c:v>0.55471180968691147</c:v>
                </c:pt>
                <c:pt idx="13">
                  <c:v>0.56057086482260998</c:v>
                </c:pt>
                <c:pt idx="14">
                  <c:v>0.56627773670803083</c:v>
                </c:pt>
                <c:pt idx="15">
                  <c:v>0.57183827854510738</c:v>
                </c:pt>
                <c:pt idx="16">
                  <c:v>0.57725804717111873</c:v>
                </c:pt>
                <c:pt idx="17">
                  <c:v>0.58254232158147956</c:v>
                </c:pt>
                <c:pt idx="18">
                  <c:v>0.58769612008047356</c:v>
                </c:pt>
                <c:pt idx="19">
                  <c:v>0.59272421617705329</c:v>
                </c:pt>
                <c:pt idx="20">
                  <c:v>0.59763115333154659</c:v>
                </c:pt>
                <c:pt idx="21">
                  <c:v>0.60242125864902829</c:v>
                </c:pt>
                <c:pt idx="22">
                  <c:v>0.60709865560609833</c:v>
                </c:pt>
                <c:pt idx="23">
                  <c:v>0.611667275889748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Island Sport Lotion FPS50 240ml (3.6%)</c:v>
                </c:pt>
                <c:pt idx="2">
                  <c:v>Hawaiian Tropic Sheer Touch Lotion FPS50+ 240ml (4.4%)</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Banana Boat Aqua Protect Sport Lotion FPS50+ 236ml (3.1%)</c:v>
                </c:pt>
                <c:pt idx="8">
                  <c:v>Nivea Sun Protection &amp; Hydration Lotion FPS50+ 125ml (4.5%)</c:v>
                </c:pt>
                <c:pt idx="9">
                  <c:v>Hawaiian Tropic Sheer Touch Lotion FPS30 240ml (1.7%)</c:v>
                </c:pt>
              </c:strCache>
            </c:strRef>
          </c:cat>
          <c:val>
            <c:numRef>
              <c:f>Sheet1!$B$2:$B$11</c:f>
              <c:numCache>
                <c:formatCode>General</c:formatCode>
                <c:ptCount val="10"/>
                <c:pt idx="0">
                  <c:v>8.5704382799818873E-2</c:v>
                </c:pt>
                <c:pt idx="1">
                  <c:v>7.5944809619357345E-2</c:v>
                </c:pt>
                <c:pt idx="2">
                  <c:v>7.0505072179478448E-2</c:v>
                </c:pt>
                <c:pt idx="3">
                  <c:v>6.4841832536514168E-2</c:v>
                </c:pt>
                <c:pt idx="4">
                  <c:v>6.09285664437587E-2</c:v>
                </c:pt>
                <c:pt idx="5">
                  <c:v>5.4081861101219326E-2</c:v>
                </c:pt>
                <c:pt idx="6">
                  <c:v>5.1418079436834331E-2</c:v>
                </c:pt>
                <c:pt idx="7">
                  <c:v>4.4687244331958913E-2</c:v>
                </c:pt>
                <c:pt idx="8">
                  <c:v>3.7323638531055608E-2</c:v>
                </c:pt>
                <c:pt idx="9">
                  <c:v>3.600991327946499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Island Sport Lotion FPS50 240ml (3.6%)</c:v>
                </c:pt>
                <c:pt idx="1">
                  <c:v>Hawaiian Tropic Sheer Touch Lotion FPS50+ 240ml (4.4%)</c:v>
                </c:pt>
                <c:pt idx="2">
                  <c:v>Nivea Sun Protection &amp; Hydration Cream FPS50+ 200ml (9.5%)</c:v>
                </c:pt>
                <c:pt idx="3">
                  <c:v>Hawaiian Tropic Ozono Lotion FPS50+ 240ml (4.4%)</c:v>
                </c:pt>
                <c:pt idx="4">
                  <c:v>Banana Boat Advanced Protection Lotion FPS50+ 240ml (2.8%)</c:v>
                </c:pt>
                <c:pt idx="5">
                  <c:v>Nivea Sun Protection Sensitive Skin Gel FPS50+ 200ml (5.1%)</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9.2642771539483845E-2</c:v>
                </c:pt>
                <c:pt idx="1">
                  <c:v>8.6558273248948006E-2</c:v>
                </c:pt>
                <c:pt idx="2">
                  <c:v>7.8509401402961337E-2</c:v>
                </c:pt>
                <c:pt idx="3">
                  <c:v>6.9257033182909766E-2</c:v>
                </c:pt>
                <c:pt idx="4">
                  <c:v>6.1515943470542032E-2</c:v>
                </c:pt>
                <c:pt idx="5">
                  <c:v>5.1231784092336009E-2</c:v>
                </c:pt>
                <c:pt idx="6">
                  <c:v>4.9288757586426868E-2</c:v>
                </c:pt>
                <c:pt idx="7">
                  <c:v>3.7420812805889547E-2</c:v>
                </c:pt>
                <c:pt idx="8">
                  <c:v>3.292495383082443E-2</c:v>
                </c:pt>
                <c:pt idx="9">
                  <c:v>3.095950983794112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6.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5</c:v>
                </c:pt>
                <c:pt idx="2">
                  <c:v>335</c:v>
                </c:pt>
                <c:pt idx="3">
                  <c:v>370</c:v>
                </c:pt>
                <c:pt idx="4">
                  <c:v>395</c:v>
                </c:pt>
              </c:numCache>
            </c:numRef>
          </c:xVal>
          <c:yVal>
            <c:numRef>
              <c:f>Sheet1!$B$2:$B$6</c:f>
              <c:numCache>
                <c:formatCode>General</c:formatCode>
                <c:ptCount val="5"/>
                <c:pt idx="0">
                  <c:v>0.57251296298003185</c:v>
                </c:pt>
                <c:pt idx="1">
                  <c:v>0.2141366069549458</c:v>
                </c:pt>
                <c:pt idx="2">
                  <c:v>0</c:v>
                </c:pt>
                <c:pt idx="3">
                  <c:v>-0.12366987013302885</c:v>
                </c:pt>
                <c:pt idx="4">
                  <c:v>-0.2030041091112647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Spray FPS50 17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2261959403787377</c:v>
                </c:pt>
                <c:pt idx="1">
                  <c:v>7.0587218378577704E-2</c:v>
                </c:pt>
                <c:pt idx="2">
                  <c:v>0</c:v>
                </c:pt>
                <c:pt idx="3">
                  <c:v>-8.7779356036396736E-2</c:v>
                </c:pt>
                <c:pt idx="4">
                  <c:v>-0.155536822422026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2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57.25129629800324</c:v>
                </c:pt>
                <c:pt idx="1">
                  <c:v>138.28730442985926</c:v>
                </c:pt>
                <c:pt idx="2">
                  <c:v>124.07518933615552</c:v>
                </c:pt>
                <c:pt idx="3">
                  <c:v>121.41366069549457</c:v>
                </c:pt>
                <c:pt idx="4">
                  <c:v>119.11063162689999</c:v>
                </c:pt>
                <c:pt idx="5">
                  <c:v>117.07925778545298</c:v>
                </c:pt>
                <c:pt idx="6">
                  <c:v>111.86738348606436</c:v>
                </c:pt>
                <c:pt idx="7">
                  <c:v>107.37824875858037</c:v>
                </c:pt>
                <c:pt idx="8">
                  <c:v>103.46046989976155</c:v>
                </c:pt>
                <c:pt idx="9">
                  <c:v>100</c:v>
                </c:pt>
                <c:pt idx="10">
                  <c:v>98.123105899254838</c:v>
                </c:pt>
                <c:pt idx="11">
                  <c:v>96.329671411082714</c:v>
                </c:pt>
                <c:pt idx="12">
                  <c:v>94.613299553277116</c:v>
                </c:pt>
                <c:pt idx="13">
                  <c:v>92.691898738215556</c:v>
                </c:pt>
                <c:pt idx="14">
                  <c:v>90.897331444326085</c:v>
                </c:pt>
                <c:pt idx="15">
                  <c:v>89.215144341504228</c:v>
                </c:pt>
                <c:pt idx="16">
                  <c:v>87.633012986697082</c:v>
                </c:pt>
                <c:pt idx="17">
                  <c:v>86.140387291724593</c:v>
                </c:pt>
                <c:pt idx="18">
                  <c:v>84.728199070688333</c:v>
                </c:pt>
                <c:pt idx="19">
                  <c:v>83.388620892102836</c:v>
                </c:pt>
                <c:pt idx="20">
                  <c:v>81.492898465934189</c:v>
                </c:pt>
                <c:pt idx="21">
                  <c:v>79.6995890888735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36.23140352435468</c:v>
                </c:pt>
                <c:pt idx="1">
                  <c:v>121.84609286457973</c:v>
                </c:pt>
                <c:pt idx="2">
                  <c:v>111.16041053307725</c:v>
                </c:pt>
                <c:pt idx="3">
                  <c:v>110.58063250774492</c:v>
                </c:pt>
                <c:pt idx="4">
                  <c:v>110.25357280470558</c:v>
                </c:pt>
                <c:pt idx="5">
                  <c:v>110.11351866098558</c:v>
                </c:pt>
                <c:pt idx="6">
                  <c:v>106.87571499673632</c:v>
                </c:pt>
                <c:pt idx="7">
                  <c:v>104.18404585268067</c:v>
                </c:pt>
                <c:pt idx="8">
                  <c:v>101.92165279642367</c:v>
                </c:pt>
                <c:pt idx="9">
                  <c:v>100</c:v>
                </c:pt>
                <c:pt idx="10">
                  <c:v>99.581824325853177</c:v>
                </c:pt>
                <c:pt idx="11">
                  <c:v>99.193792421223577</c:v>
                </c:pt>
                <c:pt idx="12">
                  <c:v>98.832941879303206</c:v>
                </c:pt>
                <c:pt idx="13">
                  <c:v>98.204555479193701</c:v>
                </c:pt>
                <c:pt idx="14">
                  <c:v>97.655260421244549</c:v>
                </c:pt>
                <c:pt idx="15">
                  <c:v>97.174972532623855</c:v>
                </c:pt>
                <c:pt idx="16">
                  <c:v>96.755098617161579</c:v>
                </c:pt>
                <c:pt idx="17">
                  <c:v>96.388297949357622</c:v>
                </c:pt>
                <c:pt idx="18">
                  <c:v>96.068282552440039</c:v>
                </c:pt>
                <c:pt idx="19">
                  <c:v>95.789650336442804</c:v>
                </c:pt>
                <c:pt idx="20">
                  <c:v>94.823109449671605</c:v>
                </c:pt>
                <c:pt idx="21">
                  <c:v>93.9209646344499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26.802879819612</c:v>
                </c:pt>
                <c:pt idx="1">
                  <c:v>114.48602703738437</c:v>
                </c:pt>
                <c:pt idx="2">
                  <c:v>105.38942125568715</c:v>
                </c:pt>
                <c:pt idx="3">
                  <c:v>105.74085420018629</c:v>
                </c:pt>
                <c:pt idx="4">
                  <c:v>106.29770026530004</c:v>
                </c:pt>
                <c:pt idx="5">
                  <c:v>107.00372734198389</c:v>
                </c:pt>
                <c:pt idx="6">
                  <c:v>104.64712571412078</c:v>
                </c:pt>
                <c:pt idx="7">
                  <c:v>102.75790509225808</c:v>
                </c:pt>
                <c:pt idx="8">
                  <c:v>101.23458648136625</c:v>
                </c:pt>
                <c:pt idx="9">
                  <c:v>100</c:v>
                </c:pt>
                <c:pt idx="10">
                  <c:v>100.23415946970748</c:v>
                </c:pt>
                <c:pt idx="11">
                  <c:v>100.47460944395918</c:v>
                </c:pt>
                <c:pt idx="12">
                  <c:v>100.71992679475441</c:v>
                </c:pt>
                <c:pt idx="13">
                  <c:v>100.66871773472175</c:v>
                </c:pt>
                <c:pt idx="14">
                  <c:v>100.675310562067</c:v>
                </c:pt>
                <c:pt idx="15">
                  <c:v>100.73157244115794</c:v>
                </c:pt>
                <c:pt idx="16">
                  <c:v>100.83057621930817</c:v>
                </c:pt>
                <c:pt idx="17">
                  <c:v>100.96641388236851</c:v>
                </c:pt>
                <c:pt idx="18">
                  <c:v>101.13403834516639</c:v>
                </c:pt>
                <c:pt idx="19">
                  <c:v>101.3291298329974</c:v>
                </c:pt>
                <c:pt idx="20">
                  <c:v>100.77882097786963</c:v>
                </c:pt>
                <c:pt idx="21">
                  <c:v>100.275794935731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4621780746758939</c:v>
                </c:pt>
                <c:pt idx="1">
                  <c:v>0.65221411581559641</c:v>
                </c:pt>
                <c:pt idx="2">
                  <c:v>0.65801054721866969</c:v>
                </c:pt>
                <c:pt idx="3">
                  <c:v>0.66361693169049485</c:v>
                </c:pt>
                <c:pt idx="4">
                  <c:v>0.6690424650503255</c:v>
                </c:pt>
                <c:pt idx="5">
                  <c:v>0.67429575925587582</c:v>
                </c:pt>
                <c:pt idx="6">
                  <c:v>0.67938488801750285</c:v>
                </c:pt>
                <c:pt idx="7">
                  <c:v>0.68431742820184904</c:v>
                </c:pt>
                <c:pt idx="8">
                  <c:v>0.68910049747151791</c:v>
                </c:pt>
                <c:pt idx="9">
                  <c:v>0.69374078855403243</c:v>
                </c:pt>
                <c:pt idx="10">
                  <c:v>0.6982446004870615</c:v>
                </c:pt>
                <c:pt idx="11">
                  <c:v>0.70261786714666929</c:v>
                </c:pt>
                <c:pt idx="12">
                  <c:v>0.70686618333028839</c:v>
                </c:pt>
                <c:pt idx="13">
                  <c:v>0.71099482863549546</c:v>
                </c:pt>
                <c:pt idx="14">
                  <c:v>0.71500878934889145</c:v>
                </c:pt>
                <c:pt idx="15">
                  <c:v>0.71891277853589308</c:v>
                </c:pt>
                <c:pt idx="16">
                  <c:v>0.7227112545016241</c:v>
                </c:pt>
                <c:pt idx="17">
                  <c:v>0.72640843777493558</c:v>
                </c:pt>
                <c:pt idx="18">
                  <c:v>0.73000832675158145</c:v>
                </c:pt>
                <c:pt idx="19">
                  <c:v>0.73351471211844399</c:v>
                </c:pt>
                <c:pt idx="20">
                  <c:v>0.73693119016820752</c:v>
                </c:pt>
                <c:pt idx="21">
                  <c:v>0.740261175102787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Equate Sport Lotion FPS30 237ml (2.0%)</c:v>
                </c:pt>
                <c:pt idx="3">
                  <c:v>Banana Boat Aqua Protect Cream FPS50+ 236ml (2.7%)</c:v>
                </c:pt>
                <c:pt idx="4">
                  <c:v>Hawaiian Tropic Ozono Lotion FPS50+ 240ml (4.4%)</c:v>
                </c:pt>
                <c:pt idx="5">
                  <c:v>Nivea Sun Protect &amp; Refresh Sport Lotion FPS50 200ml (5.8%)</c:v>
                </c:pt>
                <c:pt idx="6">
                  <c:v>Nivea Sun Protection Sensitive Skin Gel FPS50+ 200ml (5.1%)</c:v>
                </c:pt>
                <c:pt idx="7">
                  <c:v>Hawaiian Tropic Island Sport Lotion FPS50 240ml (3.6%)</c:v>
                </c:pt>
                <c:pt idx="8">
                  <c:v>Caribbean Beach Sport Cream FPS50+ 250g (1.2%)</c:v>
                </c:pt>
                <c:pt idx="9">
                  <c:v>Nivea Sun Protection &amp; Hydration Lotion FPS50+ 125ml (4.5%)</c:v>
                </c:pt>
              </c:strCache>
            </c:strRef>
          </c:cat>
          <c:val>
            <c:numRef>
              <c:f>Sheet1!$B$2:$B$11</c:f>
              <c:numCache>
                <c:formatCode>General</c:formatCode>
                <c:ptCount val="10"/>
                <c:pt idx="0">
                  <c:v>9.3908185450763279E-2</c:v>
                </c:pt>
                <c:pt idx="1">
                  <c:v>5.863445581008242E-2</c:v>
                </c:pt>
                <c:pt idx="2">
                  <c:v>5.1383412078337153E-2</c:v>
                </c:pt>
                <c:pt idx="3">
                  <c:v>4.5940179417025453E-2</c:v>
                </c:pt>
                <c:pt idx="4">
                  <c:v>4.4817475754233352E-2</c:v>
                </c:pt>
                <c:pt idx="5">
                  <c:v>4.3633516935183352E-2</c:v>
                </c:pt>
                <c:pt idx="6">
                  <c:v>4.1941341793950662E-2</c:v>
                </c:pt>
                <c:pt idx="7">
                  <c:v>4.1403824748334005E-2</c:v>
                </c:pt>
                <c:pt idx="8">
                  <c:v>3.8301016867297685E-2</c:v>
                </c:pt>
                <c:pt idx="9">
                  <c:v>3.81018328429458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Hawaiian Tropic Island Sport Lotion FPS50 240ml (3.6%)</c:v>
                </c:pt>
                <c:pt idx="3">
                  <c:v>Banana Boat Aqua Protect Cream FPS50+ 236ml (2.7%)</c:v>
                </c:pt>
                <c:pt idx="4">
                  <c:v>Nivea Sun Protect &amp; Refresh Sport Lotion FPS50 200ml (5.8%)</c:v>
                </c:pt>
                <c:pt idx="5">
                  <c:v>Hawaiian Tropic Ozono Lotion FPS50+ 240ml (4.4%)</c:v>
                </c:pt>
                <c:pt idx="6">
                  <c:v>Nivea Sun Protection Sensitive Skin Gel FPS50+ 200ml (5.1%)</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10557172837754771</c:v>
                </c:pt>
                <c:pt idx="1">
                  <c:v>7.1531170041966324E-2</c:v>
                </c:pt>
                <c:pt idx="2">
                  <c:v>5.4506992555544372E-2</c:v>
                </c:pt>
                <c:pt idx="3">
                  <c:v>5.3679610561651887E-2</c:v>
                </c:pt>
                <c:pt idx="4">
                  <c:v>5.2370558795406419E-2</c:v>
                </c:pt>
                <c:pt idx="5">
                  <c:v>5.1287177872226905E-2</c:v>
                </c:pt>
                <c:pt idx="6">
                  <c:v>4.8286364402672893E-2</c:v>
                </c:pt>
                <c:pt idx="7">
                  <c:v>4.5083723578578767E-2</c:v>
                </c:pt>
                <c:pt idx="8">
                  <c:v>3.4935153064624969E-2</c:v>
                </c:pt>
                <c:pt idx="9">
                  <c:v>3.19032797272756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2.26195940378736</c:v>
                </c:pt>
                <c:pt idx="1">
                  <c:v>110.49614622242356</c:v>
                </c:pt>
                <c:pt idx="2">
                  <c:v>109.31198066529704</c:v>
                </c:pt>
                <c:pt idx="3">
                  <c:v>108.16709432081075</c:v>
                </c:pt>
                <c:pt idx="4">
                  <c:v>107.05872183785779</c:v>
                </c:pt>
                <c:pt idx="5">
                  <c:v>105.89629706399558</c:v>
                </c:pt>
                <c:pt idx="6">
                  <c:v>104.79442969431926</c:v>
                </c:pt>
                <c:pt idx="7">
                  <c:v>103.74677720971823</c:v>
                </c:pt>
                <c:pt idx="8">
                  <c:v>102.74789517000266</c:v>
                </c:pt>
                <c:pt idx="9">
                  <c:v>101.79309088953939</c:v>
                </c:pt>
                <c:pt idx="10">
                  <c:v>100.87830267091749</c:v>
                </c:pt>
                <c:pt idx="11">
                  <c:v>100</c:v>
                </c:pt>
                <c:pt idx="12">
                  <c:v>98.85976992750625</c:v>
                </c:pt>
                <c:pt idx="13">
                  <c:v>97.768041949026895</c:v>
                </c:pt>
                <c:pt idx="14">
                  <c:v>96.721224708030249</c:v>
                </c:pt>
                <c:pt idx="15">
                  <c:v>95.716080581792141</c:v>
                </c:pt>
                <c:pt idx="16">
                  <c:v>94.749683726915265</c:v>
                </c:pt>
                <c:pt idx="17">
                  <c:v>93.819383830116209</c:v>
                </c:pt>
                <c:pt idx="18">
                  <c:v>92.922774701067695</c:v>
                </c:pt>
                <c:pt idx="19">
                  <c:v>92.057666985799898</c:v>
                </c:pt>
                <c:pt idx="20">
                  <c:v>91.222064396360295</c:v>
                </c:pt>
                <c:pt idx="21">
                  <c:v>90.206718557292049</c:v>
                </c:pt>
                <c:pt idx="22">
                  <c:v>89.207764692417086</c:v>
                </c:pt>
                <c:pt idx="23">
                  <c:v>88.224831372209437</c:v>
                </c:pt>
                <c:pt idx="24">
                  <c:v>87.257560232425888</c:v>
                </c:pt>
                <c:pt idx="25">
                  <c:v>86.3056052686578</c:v>
                </c:pt>
                <c:pt idx="26">
                  <c:v>85.368632179994123</c:v>
                </c:pt>
                <c:pt idx="27">
                  <c:v>84.4463177577973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6.376526791861465</c:v>
                </c:pt>
                <c:pt idx="1">
                  <c:v>96.282726999973704</c:v>
                </c:pt>
                <c:pt idx="2">
                  <c:v>96.65649616146213</c:v>
                </c:pt>
                <c:pt idx="3">
                  <c:v>97.034898992966703</c:v>
                </c:pt>
                <c:pt idx="4">
                  <c:v>97.416938885334787</c:v>
                </c:pt>
                <c:pt idx="5">
                  <c:v>97.722081995443872</c:v>
                </c:pt>
                <c:pt idx="6">
                  <c:v>98.053827227103056</c:v>
                </c:pt>
                <c:pt idx="7">
                  <c:v>98.40849720887455</c:v>
                </c:pt>
                <c:pt idx="8">
                  <c:v>98.782952009795224</c:v>
                </c:pt>
                <c:pt idx="9">
                  <c:v>99.174504231537071</c:v>
                </c:pt>
                <c:pt idx="10">
                  <c:v>99.580848063678019</c:v>
                </c:pt>
                <c:pt idx="11">
                  <c:v>100</c:v>
                </c:pt>
                <c:pt idx="12">
                  <c:v>100.12857309535774</c:v>
                </c:pt>
                <c:pt idx="13">
                  <c:v>100.27759660815687</c:v>
                </c:pt>
                <c:pt idx="14">
                  <c:v>100.44520220301693</c:v>
                </c:pt>
                <c:pt idx="15">
                  <c:v>100.62971010288533</c:v>
                </c:pt>
                <c:pt idx="16">
                  <c:v>100.8296069806164</c:v>
                </c:pt>
                <c:pt idx="17">
                  <c:v>101.0435267918226</c:v>
                </c:pt>
                <c:pt idx="18">
                  <c:v>101.27023411570362</c:v>
                </c:pt>
                <c:pt idx="19">
                  <c:v>101.50860963921498</c:v>
                </c:pt>
                <c:pt idx="20">
                  <c:v>101.75763747739677</c:v>
                </c:pt>
                <c:pt idx="21">
                  <c:v>101.78234103909334</c:v>
                </c:pt>
                <c:pt idx="22">
                  <c:v>101.79966602049998</c:v>
                </c:pt>
                <c:pt idx="23">
                  <c:v>101.80981848557984</c:v>
                </c:pt>
                <c:pt idx="24">
                  <c:v>101.81300043503707</c:v>
                </c:pt>
                <c:pt idx="25">
                  <c:v>101.80940982564159</c:v>
                </c:pt>
                <c:pt idx="26">
                  <c:v>101.79924059313284</c:v>
                </c:pt>
                <c:pt idx="27">
                  <c:v>101.782682678326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0.131155042815038</c:v>
                </c:pt>
                <c:pt idx="1">
                  <c:v>90.693691583154575</c:v>
                </c:pt>
                <c:pt idx="2">
                  <c:v>91.680768615002762</c:v>
                </c:pt>
                <c:pt idx="3">
                  <c:v>92.659049546559984</c:v>
                </c:pt>
                <c:pt idx="4">
                  <c:v>93.628227754694493</c:v>
                </c:pt>
                <c:pt idx="5">
                  <c:v>94.509438657973959</c:v>
                </c:pt>
                <c:pt idx="6">
                  <c:v>95.404116043503905</c:v>
                </c:pt>
                <c:pt idx="7">
                  <c:v>96.309627879531405</c:v>
                </c:pt>
                <c:pt idx="8">
                  <c:v>97.223737261485198</c:v>
                </c:pt>
                <c:pt idx="9">
                  <c:v>98.144541806436578</c:v>
                </c:pt>
                <c:pt idx="10">
                  <c:v>99.070422413531716</c:v>
                </c:pt>
                <c:pt idx="11">
                  <c:v>100</c:v>
                </c:pt>
                <c:pt idx="12">
                  <c:v>100.63147525530776</c:v>
                </c:pt>
                <c:pt idx="13">
                  <c:v>101.27232202042151</c:v>
                </c:pt>
                <c:pt idx="14">
                  <c:v>101.92136352847344</c:v>
                </c:pt>
                <c:pt idx="15">
                  <c:v>102.57754465549537</c:v>
                </c:pt>
                <c:pt idx="16">
                  <c:v>103.2399179035465</c:v>
                </c:pt>
                <c:pt idx="17">
                  <c:v>103.907631191288</c:v>
                </c:pt>
                <c:pt idx="18">
                  <c:v>104.5799171962295</c:v>
                </c:pt>
                <c:pt idx="19">
                  <c:v>105.25608403114131</c:v>
                </c:pt>
                <c:pt idx="20">
                  <c:v>105.9355070697892</c:v>
                </c:pt>
                <c:pt idx="21">
                  <c:v>106.37302402094417</c:v>
                </c:pt>
                <c:pt idx="22">
                  <c:v>106.79377154970453</c:v>
                </c:pt>
                <c:pt idx="23">
                  <c:v>107.19817964940876</c:v>
                </c:pt>
                <c:pt idx="24">
                  <c:v>107.58666779645792</c:v>
                </c:pt>
                <c:pt idx="25">
                  <c:v>107.95964523861088</c:v>
                </c:pt>
                <c:pt idx="26">
                  <c:v>108.31751126973882</c:v>
                </c:pt>
                <c:pt idx="27">
                  <c:v>108.660655492051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877601413772348</c:v>
                </c:pt>
                <c:pt idx="1">
                  <c:v>0.68357040198641417</c:v>
                </c:pt>
                <c:pt idx="2">
                  <c:v>0.68822377842779037</c:v>
                </c:pt>
                <c:pt idx="3">
                  <c:v>0.69274227439260516</c:v>
                </c:pt>
                <c:pt idx="4">
                  <c:v>0.69713167047271085</c:v>
                </c:pt>
                <c:pt idx="5">
                  <c:v>0.70139742159281349</c:v>
                </c:pt>
                <c:pt idx="6">
                  <c:v>0.70554467962624645</c:v>
                </c:pt>
                <c:pt idx="7">
                  <c:v>0.70957831415191441</c:v>
                </c:pt>
                <c:pt idx="8">
                  <c:v>0.71350293152824007</c:v>
                </c:pt>
                <c:pt idx="9">
                  <c:v>0.71732289244119685</c:v>
                </c:pt>
                <c:pt idx="10">
                  <c:v>0.72104232806697044</c:v>
                </c:pt>
                <c:pt idx="11">
                  <c:v>0.72466515497519168</c:v>
                </c:pt>
                <c:pt idx="12">
                  <c:v>0.72819508888576601</c:v>
                </c:pt>
                <c:pt idx="13">
                  <c:v>0.73163565738088299</c:v>
                </c:pt>
                <c:pt idx="14">
                  <c:v>0.734990211663622</c:v>
                </c:pt>
                <c:pt idx="15">
                  <c:v>0.73826193744555257</c:v>
                </c:pt>
                <c:pt idx="16">
                  <c:v>0.74145386503767996</c:v>
                </c:pt>
                <c:pt idx="17">
                  <c:v>0.74456887871192468</c:v>
                </c:pt>
                <c:pt idx="18">
                  <c:v>0.74760972539392567</c:v>
                </c:pt>
                <c:pt idx="19">
                  <c:v>0.75057902274223232</c:v>
                </c:pt>
                <c:pt idx="20">
                  <c:v>0.75347926666383425</c:v>
                </c:pt>
                <c:pt idx="21">
                  <c:v>0.75631283831137641</c:v>
                </c:pt>
                <c:pt idx="22">
                  <c:v>0.75908201060329261</c:v>
                </c:pt>
                <c:pt idx="23">
                  <c:v>0.76178895430437932</c:v>
                </c:pt>
                <c:pt idx="24">
                  <c:v>0.76443574370099732</c:v>
                </c:pt>
                <c:pt idx="25">
                  <c:v>0.76702436190208512</c:v>
                </c:pt>
                <c:pt idx="26">
                  <c:v>0.7695567057944539</c:v>
                </c:pt>
                <c:pt idx="27">
                  <c:v>0.7720345906783844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Nivea Sun Protection Sensitive Skin Gel FPS50+ 200ml (5.1%)</c:v>
                </c:pt>
                <c:pt idx="5">
                  <c:v>Hawaiian Tropic Sheer Touch Lotion FPS50+ 240ml (4.4%)</c:v>
                </c:pt>
                <c:pt idx="6">
                  <c:v>Hawaiian Tropic Ozono Lotion FPS50+ 240ml (4.4%)</c:v>
                </c:pt>
                <c:pt idx="7">
                  <c:v>Hawaiian Tropic Island Sport Lotion FPS50 240ml (3.6%)</c:v>
                </c:pt>
                <c:pt idx="8">
                  <c:v>Banana Boat Aqua Protect Kids Cream FPS50+ 236ml (1.9%)</c:v>
                </c:pt>
                <c:pt idx="9">
                  <c:v>Banana Boat Advanced Protection Lotion FPS50+ 240ml (2.8%)</c:v>
                </c:pt>
              </c:strCache>
            </c:strRef>
          </c:cat>
          <c:val>
            <c:numRef>
              <c:f>Sheet1!$B$2:$B$11</c:f>
              <c:numCache>
                <c:formatCode>General</c:formatCode>
                <c:ptCount val="10"/>
                <c:pt idx="0">
                  <c:v>0.1081297918091258</c:v>
                </c:pt>
                <c:pt idx="1">
                  <c:v>8.4153006495583757E-2</c:v>
                </c:pt>
                <c:pt idx="2">
                  <c:v>6.6799781841196004E-2</c:v>
                </c:pt>
                <c:pt idx="3">
                  <c:v>5.3365756524502532E-2</c:v>
                </c:pt>
                <c:pt idx="4">
                  <c:v>5.0042720761634164E-2</c:v>
                </c:pt>
                <c:pt idx="5">
                  <c:v>4.7282615203144175E-2</c:v>
                </c:pt>
                <c:pt idx="6">
                  <c:v>4.6086988989432934E-2</c:v>
                </c:pt>
                <c:pt idx="7">
                  <c:v>4.3426152179199602E-2</c:v>
                </c:pt>
                <c:pt idx="8">
                  <c:v>4.1411025264493438E-2</c:v>
                </c:pt>
                <c:pt idx="9">
                  <c:v>4.137227584696502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Hawaiian Tropic Island Sport Lotion FPS50 240ml (3.6%)</c:v>
                </c:pt>
                <c:pt idx="6">
                  <c:v>Nivea Sun Protection Sensitive Skin Gel FPS50+ 200ml (5.1%)</c:v>
                </c:pt>
                <c:pt idx="7">
                  <c:v>Banana Boat Aqua Protect Cream FPS50+ 236ml (2.7%)</c:v>
                </c:pt>
                <c:pt idx="8">
                  <c:v>Banana Boat Advanced Protection Lotion FPS50+ 240ml (2.8%)</c:v>
                </c:pt>
                <c:pt idx="9">
                  <c:v>Nivea Sun Protect &amp; Refresh Sport Spray FPS50 200ml (2.3%)</c:v>
                </c:pt>
              </c:strCache>
            </c:strRef>
          </c:cat>
          <c:val>
            <c:numRef>
              <c:f>Sheet1!$B$2:$B$11</c:f>
              <c:numCache>
                <c:formatCode>General</c:formatCode>
                <c:ptCount val="10"/>
                <c:pt idx="0">
                  <c:v>8.7042124076255292E-2</c:v>
                </c:pt>
                <c:pt idx="1">
                  <c:v>6.0753595950810084E-2</c:v>
                </c:pt>
                <c:pt idx="2">
                  <c:v>5.4942389045264266E-2</c:v>
                </c:pt>
                <c:pt idx="3">
                  <c:v>4.7775508880173852E-2</c:v>
                </c:pt>
                <c:pt idx="4">
                  <c:v>4.6224839800330764E-2</c:v>
                </c:pt>
                <c:pt idx="5">
                  <c:v>4.2702368601619065E-2</c:v>
                </c:pt>
                <c:pt idx="6">
                  <c:v>4.2337856296963496E-2</c:v>
                </c:pt>
                <c:pt idx="7">
                  <c:v>4.1113647655735087E-2</c:v>
                </c:pt>
                <c:pt idx="8">
                  <c:v>3.4980074179611798E-2</c:v>
                </c:pt>
                <c:pt idx="9">
                  <c:v>2.80626560324768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443219553268127</c:v>
                </c:pt>
                <c:pt idx="1">
                  <c:v>0.20178171433650197</c:v>
                </c:pt>
                <c:pt idx="2">
                  <c:v>0.15900458972183029</c:v>
                </c:pt>
                <c:pt idx="3">
                  <c:v>0.14435341684110004</c:v>
                </c:pt>
                <c:pt idx="4">
                  <c:v>4.9281428745266927E-2</c:v>
                </c:pt>
                <c:pt idx="5">
                  <c:v>2.7216288454477273E-2</c:v>
                </c:pt>
                <c:pt idx="6">
                  <c:v>2.1239216617812421E-2</c:v>
                </c:pt>
                <c:pt idx="7">
                  <c:v>1.2449851055565399E-2</c:v>
                </c:pt>
                <c:pt idx="8">
                  <c:v>8.4263888508540937E-3</c:v>
                </c:pt>
                <c:pt idx="9">
                  <c:v>7.7413567869773605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Stick FPS50+ 4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290</c:v>
                </c:pt>
                <c:pt idx="3">
                  <c:v>320</c:v>
                </c:pt>
                <c:pt idx="4">
                  <c:v>350</c:v>
                </c:pt>
              </c:numCache>
            </c:numRef>
          </c:xVal>
          <c:yVal>
            <c:numRef>
              <c:f>Sheet1!$B$2:$B$6</c:f>
              <c:numCache>
                <c:formatCode>General</c:formatCode>
                <c:ptCount val="5"/>
                <c:pt idx="0">
                  <c:v>0.14937680832570469</c:v>
                </c:pt>
                <c:pt idx="1">
                  <c:v>6.9574950399427113E-2</c:v>
                </c:pt>
                <c:pt idx="2">
                  <c:v>0</c:v>
                </c:pt>
                <c:pt idx="3">
                  <c:v>-0.11126957677877591</c:v>
                </c:pt>
                <c:pt idx="4">
                  <c:v>-0.160577472211379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Aerosol FPS50+ 2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0</c:v>
                </c:pt>
                <c:pt idx="1">
                  <c:v>325</c:v>
                </c:pt>
                <c:pt idx="2">
                  <c:v>365</c:v>
                </c:pt>
                <c:pt idx="3">
                  <c:v>395</c:v>
                </c:pt>
                <c:pt idx="4">
                  <c:v>430</c:v>
                </c:pt>
              </c:numCache>
            </c:numRef>
          </c:xVal>
          <c:yVal>
            <c:numRef>
              <c:f>Sheet1!$B$9:$B$13</c:f>
              <c:numCache>
                <c:formatCode>General</c:formatCode>
                <c:ptCount val="5"/>
                <c:pt idx="0">
                  <c:v>0.20514877960423991</c:v>
                </c:pt>
                <c:pt idx="1">
                  <c:v>0.12655853133860939</c:v>
                </c:pt>
                <c:pt idx="2">
                  <c:v>0</c:v>
                </c:pt>
                <c:pt idx="3">
                  <c:v>-7.1059434941557947E-2</c:v>
                </c:pt>
                <c:pt idx="4">
                  <c:v>-0.1584443078823724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Sport Lotion FPS50+ 354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15</c:v>
                </c:pt>
                <c:pt idx="1">
                  <c:v>335</c:v>
                </c:pt>
                <c:pt idx="2">
                  <c:v>370</c:v>
                </c:pt>
                <c:pt idx="3">
                  <c:v>395</c:v>
                </c:pt>
                <c:pt idx="4">
                  <c:v>430</c:v>
                </c:pt>
              </c:numCache>
            </c:numRef>
          </c:xVal>
          <c:yVal>
            <c:numRef>
              <c:f>Sheet1!$B$16:$B$20</c:f>
              <c:numCache>
                <c:formatCode>General</c:formatCode>
                <c:ptCount val="5"/>
                <c:pt idx="0">
                  <c:v>0.54052985946535526</c:v>
                </c:pt>
                <c:pt idx="1">
                  <c:v>0.21588253787560693</c:v>
                </c:pt>
                <c:pt idx="2">
                  <c:v>0</c:v>
                </c:pt>
                <c:pt idx="3">
                  <c:v>-0.14465389918988464</c:v>
                </c:pt>
                <c:pt idx="4">
                  <c:v>-0.328136363640176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B$2:$B$20</c:f>
              <c:numCache>
                <c:formatCode>General</c:formatCode>
                <c:ptCount val="19"/>
                <c:pt idx="0">
                  <c:v>114.93768083257035</c:v>
                </c:pt>
                <c:pt idx="1">
                  <c:v>110.61506291908091</c:v>
                </c:pt>
                <c:pt idx="2">
                  <c:v>106.95749503994259</c:v>
                </c:pt>
                <c:pt idx="3">
                  <c:v>103.78540388385262</c:v>
                </c:pt>
                <c:pt idx="4">
                  <c:v>102.49282584506869</c:v>
                </c:pt>
                <c:pt idx="5">
                  <c:v>101.23152437424238</c:v>
                </c:pt>
                <c:pt idx="6">
                  <c:v>100</c:v>
                </c:pt>
                <c:pt idx="7">
                  <c:v>97.230123836950625</c:v>
                </c:pt>
                <c:pt idx="8">
                  <c:v>94.768461486474692</c:v>
                </c:pt>
                <c:pt idx="9">
                  <c:v>92.947683742768234</c:v>
                </c:pt>
                <c:pt idx="10">
                  <c:v>91.308598600553438</c:v>
                </c:pt>
                <c:pt idx="11">
                  <c:v>89.811414746451746</c:v>
                </c:pt>
                <c:pt idx="12">
                  <c:v>88.873042322122359</c:v>
                </c:pt>
                <c:pt idx="13">
                  <c:v>87.986843052808325</c:v>
                </c:pt>
                <c:pt idx="14">
                  <c:v>87.146176727911723</c:v>
                </c:pt>
                <c:pt idx="15">
                  <c:v>86.345596920253072</c:v>
                </c:pt>
                <c:pt idx="16">
                  <c:v>85.524131479240026</c:v>
                </c:pt>
                <c:pt idx="17">
                  <c:v>84.723440865692538</c:v>
                </c:pt>
                <c:pt idx="18">
                  <c:v>83.9422527788620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C$2:$C$20</c:f>
              <c:numCache>
                <c:formatCode>General</c:formatCode>
                <c:ptCount val="19"/>
                <c:pt idx="0">
                  <c:v>103.05809665207354</c:v>
                </c:pt>
                <c:pt idx="1">
                  <c:v>101.093240189857</c:v>
                </c:pt>
                <c:pt idx="2">
                  <c:v>99.596735607394479</c:v>
                </c:pt>
                <c:pt idx="3">
                  <c:v>98.433309769859363</c:v>
                </c:pt>
                <c:pt idx="4">
                  <c:v>98.969267364525564</c:v>
                </c:pt>
                <c:pt idx="5">
                  <c:v>99.491457492162979</c:v>
                </c:pt>
                <c:pt idx="6">
                  <c:v>100</c:v>
                </c:pt>
                <c:pt idx="7">
                  <c:v>98.907007316620337</c:v>
                </c:pt>
                <c:pt idx="8">
                  <c:v>98.036640626101573</c:v>
                </c:pt>
                <c:pt idx="9">
                  <c:v>97.753398195951235</c:v>
                </c:pt>
                <c:pt idx="10">
                  <c:v>97.601194056378958</c:v>
                </c:pt>
                <c:pt idx="11">
                  <c:v>97.546321733278916</c:v>
                </c:pt>
                <c:pt idx="12">
                  <c:v>98.054882394798213</c:v>
                </c:pt>
                <c:pt idx="13">
                  <c:v>98.589433495817573</c:v>
                </c:pt>
                <c:pt idx="14">
                  <c:v>99.145132536629703</c:v>
                </c:pt>
                <c:pt idx="15">
                  <c:v>99.718055351950028</c:v>
                </c:pt>
                <c:pt idx="16">
                  <c:v>100.23886825890283</c:v>
                </c:pt>
                <c:pt idx="17">
                  <c:v>100.75608026266723</c:v>
                </c:pt>
                <c:pt idx="18">
                  <c:v>101.26923249169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D$2:$D$20</c:f>
              <c:numCache>
                <c:formatCode>General</c:formatCode>
                <c:ptCount val="19"/>
                <c:pt idx="0">
                  <c:v>94.4795507493522</c:v>
                </c:pt>
                <c:pt idx="1">
                  <c:v>94.20778515219547</c:v>
                </c:pt>
                <c:pt idx="2">
                  <c:v>94.26568772864097</c:v>
                </c:pt>
                <c:pt idx="3">
                  <c:v>94.548853789857972</c:v>
                </c:pt>
                <c:pt idx="4">
                  <c:v>96.4118158329577</c:v>
                </c:pt>
                <c:pt idx="5">
                  <c:v>98.228436557190875</c:v>
                </c:pt>
                <c:pt idx="6">
                  <c:v>100</c:v>
                </c:pt>
                <c:pt idx="7">
                  <c:v>100.1145079470398</c:v>
                </c:pt>
                <c:pt idx="8">
                  <c:v>100.39117662170524</c:v>
                </c:pt>
                <c:pt idx="9">
                  <c:v>101.21971338165298</c:v>
                </c:pt>
                <c:pt idx="10">
                  <c:v>102.14347407020104</c:v>
                </c:pt>
                <c:pt idx="11">
                  <c:v>103.13293524732572</c:v>
                </c:pt>
                <c:pt idx="12">
                  <c:v>104.69184297606881</c:v>
                </c:pt>
                <c:pt idx="13">
                  <c:v>106.25808342444559</c:v>
                </c:pt>
                <c:pt idx="14">
                  <c:v>107.82808373282539</c:v>
                </c:pt>
                <c:pt idx="15">
                  <c:v>109.3989956113346</c:v>
                </c:pt>
                <c:pt idx="16">
                  <c:v>110.89532675628899</c:v>
                </c:pt>
                <c:pt idx="17">
                  <c:v>112.37047355839699</c:v>
                </c:pt>
                <c:pt idx="18">
                  <c:v>113.82455968446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E$2:$E$20</c:f>
              <c:numCache>
                <c:formatCode>General</c:formatCode>
                <c:ptCount val="19"/>
                <c:pt idx="0">
                  <c:v>0.53286818397286762</c:v>
                </c:pt>
                <c:pt idx="1">
                  <c:v>0.54168199182243604</c:v>
                </c:pt>
                <c:pt idx="2">
                  <c:v>0.55016936234424274</c:v>
                </c:pt>
                <c:pt idx="3">
                  <c:v>0.55834810121071088</c:v>
                </c:pt>
                <c:pt idx="4">
                  <c:v>0.56623474226051973</c:v>
                </c:pt>
                <c:pt idx="5">
                  <c:v>0.57384465906296689</c:v>
                </c:pt>
                <c:pt idx="6">
                  <c:v>0.58119216494119141</c:v>
                </c:pt>
                <c:pt idx="7">
                  <c:v>0.58829060282354417</c:v>
                </c:pt>
                <c:pt idx="8">
                  <c:v>0.59515242610981822</c:v>
                </c:pt>
                <c:pt idx="9">
                  <c:v>0.60178927158342799</c:v>
                </c:pt>
                <c:pt idx="10">
                  <c:v>0.60821202526756635</c:v>
                </c:pt>
                <c:pt idx="11">
                  <c:v>0.61443088200935092</c:v>
                </c:pt>
                <c:pt idx="12">
                  <c:v>0.62045539947795481</c:v>
                </c:pt>
                <c:pt idx="13">
                  <c:v>0.62629454717829403</c:v>
                </c:pt>
                <c:pt idx="14">
                  <c:v>0.63195675100892579</c:v>
                </c:pt>
                <c:pt idx="15">
                  <c:v>0.63744993382968829</c:v>
                </c:pt>
                <c:pt idx="16">
                  <c:v>0.6427815524498397</c:v>
                </c:pt>
                <c:pt idx="17">
                  <c:v>0.64795863139984222</c:v>
                </c:pt>
                <c:pt idx="18">
                  <c:v>0.65298779380841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Equate Ultra Spray FPS50 156g (1.7%)</c:v>
                </c:pt>
                <c:pt idx="2">
                  <c:v>Nivea Sun Protection &amp; Hydration Lotion FPS50+ 125ml (4.5%)</c:v>
                </c:pt>
                <c:pt idx="3">
                  <c:v>Nivea Sun Protection &amp; Hydration Cream FPS50+ 200ml (9.5%)</c:v>
                </c:pt>
                <c:pt idx="4">
                  <c:v>Equate Sport Lotion FPS30 237ml (2.0%)</c:v>
                </c:pt>
                <c:pt idx="5">
                  <c:v>Hawaiian Tropic Ozono Lotion FPS50+ 240ml (4.4%)</c:v>
                </c:pt>
                <c:pt idx="6">
                  <c:v>Caribbean Beach Advanced Protection Cream FPS50+ 150g (1.0%)</c:v>
                </c:pt>
                <c:pt idx="7">
                  <c:v>Banana Boat Aqua Protect Sport Lotion FPS50+ 236ml (3.1%)</c:v>
                </c:pt>
                <c:pt idx="8">
                  <c:v>Equate Kids Lotion FPS50 237ml (1.4%)</c:v>
                </c:pt>
                <c:pt idx="9">
                  <c:v>Nivea Sun Protect &amp; Refresh Sport Spray FPS50 200ml (2.3%)</c:v>
                </c:pt>
              </c:strCache>
            </c:strRef>
          </c:cat>
          <c:val>
            <c:numRef>
              <c:f>Sheet1!$B$2:$B$11</c:f>
              <c:numCache>
                <c:formatCode>General</c:formatCode>
                <c:ptCount val="10"/>
                <c:pt idx="0">
                  <c:v>5.49198622833275E-2</c:v>
                </c:pt>
                <c:pt idx="1">
                  <c:v>5.4755276082718893E-2</c:v>
                </c:pt>
                <c:pt idx="2">
                  <c:v>5.2692829067103347E-2</c:v>
                </c:pt>
                <c:pt idx="3">
                  <c:v>4.9436235193071977E-2</c:v>
                </c:pt>
                <c:pt idx="4">
                  <c:v>4.0199590349952262E-2</c:v>
                </c:pt>
                <c:pt idx="5">
                  <c:v>3.0130444311645729E-2</c:v>
                </c:pt>
                <c:pt idx="6">
                  <c:v>2.7764226589424259E-2</c:v>
                </c:pt>
                <c:pt idx="7">
                  <c:v>2.7755089113809674E-2</c:v>
                </c:pt>
                <c:pt idx="8">
                  <c:v>2.5951348464677591E-2</c:v>
                </c:pt>
                <c:pt idx="9">
                  <c:v>2.312507421130248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Cream FPS50+ 200ml (9.5%)</c:v>
                </c:pt>
                <c:pt idx="2">
                  <c:v>Nivea Sun Protection &amp; Hydration Lotion FPS50+ 125ml (4.5%)</c:v>
                </c:pt>
                <c:pt idx="3">
                  <c:v>Hawaiian Tropic Ozono Lotion FPS50+ 240ml (4.4%)</c:v>
                </c:pt>
                <c:pt idx="4">
                  <c:v>Equate Ultra Spray FPS50 156g (1.7%)</c:v>
                </c:pt>
                <c:pt idx="5">
                  <c:v>Hawaiian Tropic Island Sport Lotion FPS50 240ml (3.6%)</c:v>
                </c:pt>
                <c:pt idx="6">
                  <c:v>Equate Sport Lotion FPS30 237ml (2.0%)</c:v>
                </c:pt>
                <c:pt idx="7">
                  <c:v>Nivea Sun Protection Sensitive Skin Gel FPS50+ 200ml (5.1%)</c:v>
                </c:pt>
                <c:pt idx="8">
                  <c:v>Banana Boat Aqua Protect Sport Lotion FPS50+ 236ml (3.1%)</c:v>
                </c:pt>
                <c:pt idx="9">
                  <c:v>Hawaiian Tropic Sheer Touch Lotion FPS50+ 240ml (4.4%)</c:v>
                </c:pt>
              </c:strCache>
            </c:strRef>
          </c:cat>
          <c:val>
            <c:numRef>
              <c:f>Sheet1!$B$2:$B$11</c:f>
              <c:numCache>
                <c:formatCode>General</c:formatCode>
                <c:ptCount val="10"/>
                <c:pt idx="0">
                  <c:v>5.7231756611204367E-2</c:v>
                </c:pt>
                <c:pt idx="1">
                  <c:v>5.678064636920991E-2</c:v>
                </c:pt>
                <c:pt idx="2">
                  <c:v>4.3747619548523506E-2</c:v>
                </c:pt>
                <c:pt idx="3">
                  <c:v>3.6789176205184848E-2</c:v>
                </c:pt>
                <c:pt idx="4">
                  <c:v>3.2158947344485787E-2</c:v>
                </c:pt>
                <c:pt idx="5">
                  <c:v>2.9851530337583629E-2</c:v>
                </c:pt>
                <c:pt idx="6">
                  <c:v>2.9088700252757026E-2</c:v>
                </c:pt>
                <c:pt idx="7">
                  <c:v>2.881618490764876E-2</c:v>
                </c:pt>
                <c:pt idx="8">
                  <c:v>2.802190837200895E-2</c:v>
                </c:pt>
                <c:pt idx="9">
                  <c:v>2.781829959480726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0.51487796042393</c:v>
                </c:pt>
                <c:pt idx="1">
                  <c:v>118.57501357842428</c:v>
                </c:pt>
                <c:pt idx="2">
                  <c:v>115.43972970265509</c:v>
                </c:pt>
                <c:pt idx="3">
                  <c:v>112.65585313386093</c:v>
                </c:pt>
                <c:pt idx="4">
                  <c:v>110.15588261260913</c:v>
                </c:pt>
                <c:pt idx="5">
                  <c:v>107.88852908494687</c:v>
                </c:pt>
                <c:pt idx="6">
                  <c:v>106.41437114966092</c:v>
                </c:pt>
                <c:pt idx="7">
                  <c:v>104.99521966799246</c:v>
                </c:pt>
                <c:pt idx="8">
                  <c:v>103.62702451604031</c:v>
                </c:pt>
                <c:pt idx="9">
                  <c:v>102.3541042209921</c:v>
                </c:pt>
                <c:pt idx="10">
                  <c:v>101.14740375001541</c:v>
                </c:pt>
                <c:pt idx="11">
                  <c:v>100</c:v>
                </c:pt>
                <c:pt idx="12">
                  <c:v>98.905954020449357</c:v>
                </c:pt>
                <c:pt idx="13">
                  <c:v>97.860148441117502</c:v>
                </c:pt>
                <c:pt idx="14">
                  <c:v>96.858154138909327</c:v>
                </c:pt>
                <c:pt idx="15">
                  <c:v>95.896120601218911</c:v>
                </c:pt>
                <c:pt idx="16">
                  <c:v>94.361146571240013</c:v>
                </c:pt>
                <c:pt idx="17">
                  <c:v>92.894056505844176</c:v>
                </c:pt>
                <c:pt idx="18">
                  <c:v>91.489770388369578</c:v>
                </c:pt>
                <c:pt idx="19">
                  <c:v>90.143717601792318</c:v>
                </c:pt>
                <c:pt idx="20">
                  <c:v>88.851775562804676</c:v>
                </c:pt>
                <c:pt idx="21">
                  <c:v>87.610216747821781</c:v>
                </c:pt>
                <c:pt idx="22">
                  <c:v>86.41566284929371</c:v>
                </c:pt>
                <c:pt idx="23">
                  <c:v>85.265045004943048</c:v>
                </c:pt>
                <c:pt idx="24">
                  <c:v>84.1555692117626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2.39734936874257</c:v>
                </c:pt>
                <c:pt idx="1">
                  <c:v>102.36930327719152</c:v>
                </c:pt>
                <c:pt idx="2">
                  <c:v>101.24024702315488</c:v>
                </c:pt>
                <c:pt idx="3">
                  <c:v>100.33848875010429</c:v>
                </c:pt>
                <c:pt idx="4">
                  <c:v>99.617386366286453</c:v>
                </c:pt>
                <c:pt idx="5">
                  <c:v>99.041492211642918</c:v>
                </c:pt>
                <c:pt idx="6">
                  <c:v>99.14240346004506</c:v>
                </c:pt>
                <c:pt idx="7">
                  <c:v>99.255004943773145</c:v>
                </c:pt>
                <c:pt idx="8">
                  <c:v>99.377667937177492</c:v>
                </c:pt>
                <c:pt idx="9">
                  <c:v>99.556025021373898</c:v>
                </c:pt>
                <c:pt idx="10">
                  <c:v>99.764871602358198</c:v>
                </c:pt>
                <c:pt idx="11">
                  <c:v>100</c:v>
                </c:pt>
                <c:pt idx="12">
                  <c:v>100.25782178087275</c:v>
                </c:pt>
                <c:pt idx="13">
                  <c:v>100.53526796082876</c:v>
                </c:pt>
                <c:pt idx="14">
                  <c:v>100.82970632268263</c:v>
                </c:pt>
                <c:pt idx="15">
                  <c:v>101.13887279836898</c:v>
                </c:pt>
                <c:pt idx="16">
                  <c:v>100.80878228686072</c:v>
                </c:pt>
                <c:pt idx="17">
                  <c:v>100.51023094070217</c:v>
                </c:pt>
                <c:pt idx="18">
                  <c:v>100.24043103121747</c:v>
                </c:pt>
                <c:pt idx="19">
                  <c:v>99.996882859333269</c:v>
                </c:pt>
                <c:pt idx="20">
                  <c:v>99.777340555851254</c:v>
                </c:pt>
                <c:pt idx="21">
                  <c:v>99.579782404215521</c:v>
                </c:pt>
                <c:pt idx="22">
                  <c:v>99.402385034460224</c:v>
                </c:pt>
                <c:pt idx="23">
                  <c:v>99.243500937388646</c:v>
                </c:pt>
                <c:pt idx="24">
                  <c:v>99.1016388321505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3.88330987812482</c:v>
                </c:pt>
                <c:pt idx="1">
                  <c:v>94.754201044613694</c:v>
                </c:pt>
                <c:pt idx="2">
                  <c:v>94.56786749920883</c:v>
                </c:pt>
                <c:pt idx="3">
                  <c:v>94.550494324429678</c:v>
                </c:pt>
                <c:pt idx="4">
                  <c:v>94.665251112633527</c:v>
                </c:pt>
                <c:pt idx="5">
                  <c:v>94.884141322353159</c:v>
                </c:pt>
                <c:pt idx="6">
                  <c:v>95.725454869744681</c:v>
                </c:pt>
                <c:pt idx="7">
                  <c:v>96.558125311673237</c:v>
                </c:pt>
                <c:pt idx="8">
                  <c:v>97.38166172854072</c:v>
                </c:pt>
                <c:pt idx="9">
                  <c:v>98.241673017934687</c:v>
                </c:pt>
                <c:pt idx="10">
                  <c:v>99.115429837217107</c:v>
                </c:pt>
                <c:pt idx="11">
                  <c:v>100</c:v>
                </c:pt>
                <c:pt idx="12">
                  <c:v>100.89289892401514</c:v>
                </c:pt>
                <c:pt idx="13">
                  <c:v>101.79201938120386</c:v>
                </c:pt>
                <c:pt idx="14">
                  <c:v>102.69557265353073</c:v>
                </c:pt>
                <c:pt idx="15">
                  <c:v>103.60203921804627</c:v>
                </c:pt>
                <c:pt idx="16">
                  <c:v>103.83936257609132</c:v>
                </c:pt>
                <c:pt idx="17">
                  <c:v>104.09107941354509</c:v>
                </c:pt>
                <c:pt idx="18">
                  <c:v>104.35548654887363</c:v>
                </c:pt>
                <c:pt idx="19">
                  <c:v>104.63106385318693</c:v>
                </c:pt>
                <c:pt idx="20">
                  <c:v>104.9164529564121</c:v>
                </c:pt>
                <c:pt idx="21">
                  <c:v>105.21043863450194</c:v>
                </c:pt>
                <c:pt idx="22">
                  <c:v>105.51193251737354</c:v>
                </c:pt>
                <c:pt idx="23">
                  <c:v>105.81995880798985</c:v>
                </c:pt>
                <c:pt idx="24">
                  <c:v>106.1336417464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62545007553537768</c:v>
                </c:pt>
                <c:pt idx="1">
                  <c:v>0.6313953124316416</c:v>
                </c:pt>
                <c:pt idx="2">
                  <c:v>0.63715476067489707</c:v>
                </c:pt>
                <c:pt idx="3">
                  <c:v>0.64273699512605265</c:v>
                </c:pt>
                <c:pt idx="4">
                  <c:v>0.64815007095747612</c:v>
                </c:pt>
                <c:pt idx="5">
                  <c:v>0.65340156243572289</c:v>
                </c:pt>
                <c:pt idx="6">
                  <c:v>0.65849859828225621</c:v>
                </c:pt>
                <c:pt idx="7">
                  <c:v>0.66344789395932502</c:v>
                </c:pt>
                <c:pt idx="8">
                  <c:v>0.6682557811884775</c:v>
                </c:pt>
                <c:pt idx="9">
                  <c:v>0.67292823497455534</c:v>
                </c:pt>
                <c:pt idx="10">
                  <c:v>0.67747089837768637</c:v>
                </c:pt>
                <c:pt idx="11">
                  <c:v>0.68188910524922497</c:v>
                </c:pt>
                <c:pt idx="12">
                  <c:v>0.68618790112423544</c:v>
                </c:pt>
                <c:pt idx="13">
                  <c:v>0.69037206244257898</c:v>
                </c:pt>
                <c:pt idx="14">
                  <c:v>0.69444611425254499</c:v>
                </c:pt>
                <c:pt idx="15">
                  <c:v>0.69841434653497947</c:v>
                </c:pt>
                <c:pt idx="16">
                  <c:v>0.70228082927171065</c:v>
                </c:pt>
                <c:pt idx="17">
                  <c:v>0.70604942636953705</c:v>
                </c:pt>
                <c:pt idx="18">
                  <c:v>0.7097238085399179</c:v>
                </c:pt>
                <c:pt idx="19">
                  <c:v>0.71330746522461008</c:v>
                </c:pt>
                <c:pt idx="20">
                  <c:v>0.71680371564870027</c:v>
                </c:pt>
                <c:pt idx="21">
                  <c:v>0.72021571907461956</c:v>
                </c:pt>
                <c:pt idx="22">
                  <c:v>0.72354648432373125</c:v>
                </c:pt>
                <c:pt idx="23">
                  <c:v>0.72679887862580494</c:v>
                </c:pt>
                <c:pt idx="24">
                  <c:v>0.729975635851086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Nivea Sun Protection Sensitive Skin Gel FPS50+ 200ml (5.1%)</c:v>
                </c:pt>
                <c:pt idx="6">
                  <c:v>Hawaiian Tropic Island Sport Lotion FPS50 240ml (3.6%)</c:v>
                </c:pt>
                <c:pt idx="7">
                  <c:v>Nivea Sun Protection &amp; Hydration Lotion FPS50+ 125ml (4.5%)</c:v>
                </c:pt>
                <c:pt idx="8">
                  <c:v>Banana Boat Aqua Protect Cream FPS50+ 236ml (2.7%)</c:v>
                </c:pt>
                <c:pt idx="9">
                  <c:v>Equate Sport Lotion FPS30 237ml (2.0%)</c:v>
                </c:pt>
              </c:strCache>
            </c:strRef>
          </c:cat>
          <c:val>
            <c:numRef>
              <c:f>Sheet1!$B$2:$B$11</c:f>
              <c:numCache>
                <c:formatCode>General</c:formatCode>
                <c:ptCount val="10"/>
                <c:pt idx="0">
                  <c:v>9.0272410010037038E-2</c:v>
                </c:pt>
                <c:pt idx="1">
                  <c:v>6.4547411789144249E-2</c:v>
                </c:pt>
                <c:pt idx="2">
                  <c:v>6.2960412952709516E-2</c:v>
                </c:pt>
                <c:pt idx="3">
                  <c:v>5.5209962417819003E-2</c:v>
                </c:pt>
                <c:pt idx="4">
                  <c:v>4.2896690606007717E-2</c:v>
                </c:pt>
                <c:pt idx="5">
                  <c:v>4.1468473240440604E-2</c:v>
                </c:pt>
                <c:pt idx="6">
                  <c:v>3.9862243532850346E-2</c:v>
                </c:pt>
                <c:pt idx="7">
                  <c:v>3.8807001131948418E-2</c:v>
                </c:pt>
                <c:pt idx="8">
                  <c:v>3.703039585500973E-2</c:v>
                </c:pt>
                <c:pt idx="9">
                  <c:v>2.958220577143359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Banana Boat Aqua Protect Sport Lotion FPS50+ 236ml (3.1%)</c:v>
                </c:pt>
                <c:pt idx="5">
                  <c:v>Hawaiian Tropic Island Sport Lotion FPS50 240ml (3.6%)</c:v>
                </c:pt>
                <c:pt idx="6">
                  <c:v>Nivea Sun Protection Sensitive Skin Gel FPS50+ 200ml (5.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8.9181012846472493E-2</c:v>
                </c:pt>
                <c:pt idx="1">
                  <c:v>6.0562738565084775E-2</c:v>
                </c:pt>
                <c:pt idx="2">
                  <c:v>5.7299888980354811E-2</c:v>
                </c:pt>
                <c:pt idx="3">
                  <c:v>4.941142943027322E-2</c:v>
                </c:pt>
                <c:pt idx="4">
                  <c:v>4.8526759266066914E-2</c:v>
                </c:pt>
                <c:pt idx="5">
                  <c:v>4.5218448763221855E-2</c:v>
                </c:pt>
                <c:pt idx="6">
                  <c:v>4.2005881794615167E-2</c:v>
                </c:pt>
                <c:pt idx="7">
                  <c:v>3.3751803579275354E-2</c:v>
                </c:pt>
                <c:pt idx="8">
                  <c:v>3.2186330493799625E-2</c:v>
                </c:pt>
                <c:pt idx="9">
                  <c:v>2.75488145009265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4.05298594653556</c:v>
                </c:pt>
                <c:pt idx="1">
                  <c:v>144.46972677815248</c:v>
                </c:pt>
                <c:pt idx="2">
                  <c:v>135.92012320072277</c:v>
                </c:pt>
                <c:pt idx="3">
                  <c:v>128.32570527667502</c:v>
                </c:pt>
                <c:pt idx="4">
                  <c:v>121.58825378756077</c:v>
                </c:pt>
                <c:pt idx="5">
                  <c:v>118.56553226152189</c:v>
                </c:pt>
                <c:pt idx="6">
                  <c:v>115.6890019712995</c:v>
                </c:pt>
                <c:pt idx="7">
                  <c:v>112.94828557146985</c:v>
                </c:pt>
                <c:pt idx="8">
                  <c:v>109.35005443085855</c:v>
                </c:pt>
                <c:pt idx="9">
                  <c:v>106.00738661021587</c:v>
                </c:pt>
                <c:pt idx="10">
                  <c:v>102.89785943552594</c:v>
                </c:pt>
                <c:pt idx="11">
                  <c:v>100</c:v>
                </c:pt>
                <c:pt idx="12">
                  <c:v>97.293647387117971</c:v>
                </c:pt>
                <c:pt idx="13">
                  <c:v>94.760198542303826</c:v>
                </c:pt>
                <c:pt idx="14">
                  <c:v>92.382727964671446</c:v>
                </c:pt>
                <c:pt idx="15">
                  <c:v>88.851843771698796</c:v>
                </c:pt>
                <c:pt idx="16">
                  <c:v>85.534610081011593</c:v>
                </c:pt>
                <c:pt idx="17">
                  <c:v>82.416698710967992</c:v>
                </c:pt>
                <c:pt idx="18">
                  <c:v>79.484533884805657</c:v>
                </c:pt>
                <c:pt idx="19">
                  <c:v>76.725284370270515</c:v>
                </c:pt>
                <c:pt idx="20">
                  <c:v>74.126854488247361</c:v>
                </c:pt>
                <c:pt idx="21">
                  <c:v>71.677875167084579</c:v>
                </c:pt>
                <c:pt idx="22">
                  <c:v>69.367694142805789</c:v>
                </c:pt>
                <c:pt idx="23">
                  <c:v>67.1863636359823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31.83816648904281</c:v>
                </c:pt>
                <c:pt idx="1">
                  <c:v>125.49889791718203</c:v>
                </c:pt>
                <c:pt idx="2">
                  <c:v>119.83026667492993</c:v>
                </c:pt>
                <c:pt idx="3">
                  <c:v>114.80043659937023</c:v>
                </c:pt>
                <c:pt idx="4">
                  <c:v>110.35589836246589</c:v>
                </c:pt>
                <c:pt idx="5">
                  <c:v>109.17686725424147</c:v>
                </c:pt>
                <c:pt idx="6">
                  <c:v>108.05522820903619</c:v>
                </c:pt>
                <c:pt idx="7">
                  <c:v>106.98685077266494</c:v>
                </c:pt>
                <c:pt idx="8">
                  <c:v>105.01969747661784</c:v>
                </c:pt>
                <c:pt idx="9">
                  <c:v>103.20769770182639</c:v>
                </c:pt>
                <c:pt idx="10">
                  <c:v>101.53861110419923</c:v>
                </c:pt>
                <c:pt idx="11">
                  <c:v>100</c:v>
                </c:pt>
                <c:pt idx="12">
                  <c:v>98.579654389183347</c:v>
                </c:pt>
                <c:pt idx="13">
                  <c:v>97.265926441957973</c:v>
                </c:pt>
                <c:pt idx="14">
                  <c:v>96.047953580978316</c:v>
                </c:pt>
                <c:pt idx="15">
                  <c:v>93.540800631806377</c:v>
                </c:pt>
                <c:pt idx="16">
                  <c:v>91.170085111878223</c:v>
                </c:pt>
                <c:pt idx="17">
                  <c:v>88.928536255858106</c:v>
                </c:pt>
                <c:pt idx="18">
                  <c:v>86.808984252420686</c:v>
                </c:pt>
                <c:pt idx="19">
                  <c:v>84.80439668624004</c:v>
                </c:pt>
                <c:pt idx="20">
                  <c:v>82.907913663153693</c:v>
                </c:pt>
                <c:pt idx="21">
                  <c:v>81.11288277598932</c:v>
                </c:pt>
                <c:pt idx="22">
                  <c:v>79.412892813955821</c:v>
                </c:pt>
                <c:pt idx="23">
                  <c:v>77.80180414076296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7.64923017476313</c:v>
                </c:pt>
                <c:pt idx="1">
                  <c:v>104.90873431337523</c:v>
                </c:pt>
                <c:pt idx="2">
                  <c:v>102.42229925722437</c:v>
                </c:pt>
                <c:pt idx="3">
                  <c:v>100.21356096683745</c:v>
                </c:pt>
                <c:pt idx="4">
                  <c:v>98.281596611575821</c:v>
                </c:pt>
                <c:pt idx="5">
                  <c:v>99.085035275811222</c:v>
                </c:pt>
                <c:pt idx="6">
                  <c:v>99.849103061985872</c:v>
                </c:pt>
                <c:pt idx="7">
                  <c:v>100.57656902143013</c:v>
                </c:pt>
                <c:pt idx="8">
                  <c:v>100.36686443838647</c:v>
                </c:pt>
                <c:pt idx="9">
                  <c:v>100.20166174809656</c:v>
                </c:pt>
                <c:pt idx="10">
                  <c:v>100.08014701054044</c:v>
                </c:pt>
                <c:pt idx="11">
                  <c:v>100</c:v>
                </c:pt>
                <c:pt idx="12">
                  <c:v>99.957896387230562</c:v>
                </c:pt>
                <c:pt idx="13">
                  <c:v>99.949946711827963</c:v>
                </c:pt>
                <c:pt idx="14">
                  <c:v>99.972039205976898</c:v>
                </c:pt>
                <c:pt idx="15">
                  <c:v>98.584172337202247</c:v>
                </c:pt>
                <c:pt idx="16">
                  <c:v>97.245832010879127</c:v>
                </c:pt>
                <c:pt idx="17">
                  <c:v>95.9578874543365</c:v>
                </c:pt>
                <c:pt idx="18">
                  <c:v>94.720535096590609</c:v>
                </c:pt>
                <c:pt idx="19">
                  <c:v>93.533392003733127</c:v>
                </c:pt>
                <c:pt idx="20">
                  <c:v>92.395586613112144</c:v>
                </c:pt>
                <c:pt idx="21">
                  <c:v>91.305848048425275</c:v>
                </c:pt>
                <c:pt idx="22">
                  <c:v>90.262592853635709</c:v>
                </c:pt>
                <c:pt idx="23">
                  <c:v>89.2640067642519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0505120802172506</c:v>
                </c:pt>
                <c:pt idx="1">
                  <c:v>0.41434728289638567</c:v>
                </c:pt>
                <c:pt idx="2">
                  <c:v>0.42335732469797965</c:v>
                </c:pt>
                <c:pt idx="3">
                  <c:v>0.43209433492982846</c:v>
                </c:pt>
                <c:pt idx="4">
                  <c:v>0.44057053888609943</c:v>
                </c:pt>
                <c:pt idx="5">
                  <c:v>0.44879744272600997</c:v>
                </c:pt>
                <c:pt idx="6">
                  <c:v>0.45678588558505329</c:v>
                </c:pt>
                <c:pt idx="7">
                  <c:v>0.46454608721955254</c:v>
                </c:pt>
                <c:pt idx="8">
                  <c:v>0.47208769162491099</c:v>
                </c:pt>
                <c:pt idx="9">
                  <c:v>0.47941980701900944</c:v>
                </c:pt>
                <c:pt idx="10">
                  <c:v>0.48655104253929704</c:v>
                </c:pt>
                <c:pt idx="11">
                  <c:v>0.49348954196444167</c:v>
                </c:pt>
                <c:pt idx="12">
                  <c:v>0.50024301473824884</c:v>
                </c:pt>
                <c:pt idx="13">
                  <c:v>0.50681876454432473</c:v>
                </c:pt>
                <c:pt idx="14">
                  <c:v>0.51322371565413871</c:v>
                </c:pt>
                <c:pt idx="15">
                  <c:v>0.51946443724831637</c:v>
                </c:pt>
                <c:pt idx="16">
                  <c:v>0.5255471658907428</c:v>
                </c:pt>
                <c:pt idx="17">
                  <c:v>0.53147782631710849</c:v>
                </c:pt>
                <c:pt idx="18">
                  <c:v>0.53726205068356381</c:v>
                </c:pt>
                <c:pt idx="19">
                  <c:v>0.54290519640693502</c:v>
                </c:pt>
                <c:pt idx="20">
                  <c:v>0.54841236271528526</c:v>
                </c:pt>
                <c:pt idx="21">
                  <c:v>0.55378840601629375</c:v>
                </c:pt>
                <c:pt idx="22">
                  <c:v>0.55903795418080793</c:v>
                </c:pt>
                <c:pt idx="23">
                  <c:v>0.564165419829868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Ozono Lotion FPS50+ 240ml (4.4%)</c:v>
                </c:pt>
                <c:pt idx="3">
                  <c:v>Hawaiian Tropic Island Sport Lotion FPS50 240ml (3.6%)</c:v>
                </c:pt>
                <c:pt idx="4">
                  <c:v>Banana Boat Advanced Protection Lotion FPS50+ 240ml (2.8%)</c:v>
                </c:pt>
                <c:pt idx="5">
                  <c:v>Banana Boat Aqua Protect Cream FPS50+ 236ml (2.7%)</c:v>
                </c:pt>
                <c:pt idx="6">
                  <c:v>Banana Boat Aqua Protect Sport Lotion FPS50+ 236ml (3.1%)</c:v>
                </c:pt>
                <c:pt idx="7">
                  <c:v>Nivea Sun Protection Sensitive Skin Gel FPS50+ 200ml (5.1%)</c:v>
                </c:pt>
                <c:pt idx="8">
                  <c:v>Nivea Sun Protection &amp; Hydration Lotion FPS50+ 125ml (4.5%)</c:v>
                </c:pt>
                <c:pt idx="9">
                  <c:v>Equate Sport Lotion FPS30 237ml (2.0%)</c:v>
                </c:pt>
              </c:strCache>
            </c:strRef>
          </c:cat>
          <c:val>
            <c:numRef>
              <c:f>Sheet1!$B$2:$B$11</c:f>
              <c:numCache>
                <c:formatCode>General</c:formatCode>
                <c:ptCount val="10"/>
                <c:pt idx="0">
                  <c:v>8.9600317859106132E-2</c:v>
                </c:pt>
                <c:pt idx="1">
                  <c:v>7.1894379645180695E-2</c:v>
                </c:pt>
                <c:pt idx="2">
                  <c:v>6.9023996212928471E-2</c:v>
                </c:pt>
                <c:pt idx="3">
                  <c:v>6.7511658570572897E-2</c:v>
                </c:pt>
                <c:pt idx="4">
                  <c:v>6.4749416409869406E-2</c:v>
                </c:pt>
                <c:pt idx="5">
                  <c:v>5.357242149808121E-2</c:v>
                </c:pt>
                <c:pt idx="6">
                  <c:v>5.1126437384715867E-2</c:v>
                </c:pt>
                <c:pt idx="7">
                  <c:v>4.530205358286022E-2</c:v>
                </c:pt>
                <c:pt idx="8">
                  <c:v>4.3978041918898717E-2</c:v>
                </c:pt>
                <c:pt idx="9">
                  <c:v>3.834180159214350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8.6145135761529712E-2</c:v>
                </c:pt>
                <c:pt idx="1">
                  <c:v>8.2873769240184345E-2</c:v>
                </c:pt>
                <c:pt idx="2">
                  <c:v>8.0353185752382553E-2</c:v>
                </c:pt>
                <c:pt idx="3">
                  <c:v>7.3530462393364679E-2</c:v>
                </c:pt>
                <c:pt idx="4">
                  <c:v>6.4111764984734962E-2</c:v>
                </c:pt>
                <c:pt idx="5">
                  <c:v>4.938702786425412E-2</c:v>
                </c:pt>
                <c:pt idx="6">
                  <c:v>4.5802767421039968E-2</c:v>
                </c:pt>
                <c:pt idx="7">
                  <c:v>3.9720165097643589E-2</c:v>
                </c:pt>
                <c:pt idx="8">
                  <c:v>3.9004440338870031E-2</c:v>
                </c:pt>
                <c:pt idx="9">
                  <c:v>3.668712573574345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Oreal Paris (0.9%)</c:v>
                </c:pt>
                <c:pt idx="9">
                  <c:v>La Roche-Posay (1.9%)</c:v>
                </c:pt>
              </c:strCache>
            </c:strRef>
          </c:cat>
          <c:val>
            <c:numRef>
              <c:f>Sheet1!$B$2:$B$11</c:f>
              <c:numCache>
                <c:formatCode>General</c:formatCode>
                <c:ptCount val="10"/>
                <c:pt idx="0">
                  <c:v>0.33869986326455781</c:v>
                </c:pt>
                <c:pt idx="1">
                  <c:v>0.19745333493151732</c:v>
                </c:pt>
                <c:pt idx="2">
                  <c:v>0.18301170484228155</c:v>
                </c:pt>
                <c:pt idx="3">
                  <c:v>0.13353133022305325</c:v>
                </c:pt>
                <c:pt idx="4">
                  <c:v>5.6215762890484806E-2</c:v>
                </c:pt>
                <c:pt idx="5">
                  <c:v>2.4561252903756901E-2</c:v>
                </c:pt>
                <c:pt idx="6">
                  <c:v>2.1325033148323531E-2</c:v>
                </c:pt>
                <c:pt idx="7">
                  <c:v>1.0492305102875748E-2</c:v>
                </c:pt>
                <c:pt idx="8">
                  <c:v>6.9992650208609598E-3</c:v>
                </c:pt>
                <c:pt idx="9">
                  <c:v>6.6921131939580002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Mineral Sensitive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5</c:v>
                </c:pt>
                <c:pt idx="2">
                  <c:v>345</c:v>
                </c:pt>
                <c:pt idx="3">
                  <c:v>375</c:v>
                </c:pt>
                <c:pt idx="4">
                  <c:v>415</c:v>
                </c:pt>
              </c:numCache>
            </c:numRef>
          </c:xVal>
          <c:yVal>
            <c:numRef>
              <c:f>Sheet1!$B$2:$B$6</c:f>
              <c:numCache>
                <c:formatCode>General</c:formatCode>
                <c:ptCount val="5"/>
                <c:pt idx="0">
                  <c:v>0.74627187744006229</c:v>
                </c:pt>
                <c:pt idx="1">
                  <c:v>0.23321087811660421</c:v>
                </c:pt>
                <c:pt idx="2">
                  <c:v>0</c:v>
                </c:pt>
                <c:pt idx="3">
                  <c:v>-0.11349560450759281</c:v>
                </c:pt>
                <c:pt idx="4">
                  <c:v>-0.279012979179654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Mineral Kids Lotion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15</c:v>
                </c:pt>
                <c:pt idx="2">
                  <c:v>345</c:v>
                </c:pt>
                <c:pt idx="3">
                  <c:v>375</c:v>
                </c:pt>
                <c:pt idx="4">
                  <c:v>415</c:v>
                </c:pt>
              </c:numCache>
            </c:numRef>
          </c:xVal>
          <c:yVal>
            <c:numRef>
              <c:f>Sheet1!$B$9:$B$13</c:f>
              <c:numCache>
                <c:formatCode>General</c:formatCode>
                <c:ptCount val="5"/>
                <c:pt idx="0">
                  <c:v>0.46872831545583599</c:v>
                </c:pt>
                <c:pt idx="1">
                  <c:v>0.15522165795249585</c:v>
                </c:pt>
                <c:pt idx="2">
                  <c:v>0</c:v>
                </c:pt>
                <c:pt idx="3">
                  <c:v>-8.2194806798782064E-2</c:v>
                </c:pt>
                <c:pt idx="4">
                  <c:v>-0.205013301356379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15"/>
          <c:min val="2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74.62718774400625</c:v>
                </c:pt>
                <c:pt idx="1">
                  <c:v>150.62520181802907</c:v>
                </c:pt>
                <c:pt idx="2">
                  <c:v>133.04098601084854</c:v>
                </c:pt>
                <c:pt idx="3">
                  <c:v>129.28425582168251</c:v>
                </c:pt>
                <c:pt idx="4">
                  <c:v>126.09206556389108</c:v>
                </c:pt>
                <c:pt idx="5">
                  <c:v>123.32108781166041</c:v>
                </c:pt>
                <c:pt idx="6">
                  <c:v>117.49693364877372</c:v>
                </c:pt>
                <c:pt idx="7">
                  <c:v>112.48457918785955</c:v>
                </c:pt>
                <c:pt idx="8">
                  <c:v>108.11363120496893</c:v>
                </c:pt>
                <c:pt idx="9">
                  <c:v>104.25667287067355</c:v>
                </c:pt>
                <c:pt idx="10">
                  <c:v>102.07535970895852</c:v>
                </c:pt>
                <c:pt idx="11">
                  <c:v>100</c:v>
                </c:pt>
                <c:pt idx="12">
                  <c:v>98.021864483463318</c:v>
                </c:pt>
                <c:pt idx="13">
                  <c:v>95.883152532706177</c:v>
                </c:pt>
                <c:pt idx="14">
                  <c:v>93.892296917183188</c:v>
                </c:pt>
                <c:pt idx="15">
                  <c:v>92.032451603762809</c:v>
                </c:pt>
                <c:pt idx="16">
                  <c:v>90.289262681198295</c:v>
                </c:pt>
                <c:pt idx="17">
                  <c:v>88.650439549240758</c:v>
                </c:pt>
                <c:pt idx="18">
                  <c:v>87.105406139486988</c:v>
                </c:pt>
                <c:pt idx="19">
                  <c:v>85.645016811095786</c:v>
                </c:pt>
                <c:pt idx="20">
                  <c:v>83.007934704755442</c:v>
                </c:pt>
                <c:pt idx="21">
                  <c:v>80.542134847867658</c:v>
                </c:pt>
                <c:pt idx="22">
                  <c:v>78.231672614331927</c:v>
                </c:pt>
                <c:pt idx="23">
                  <c:v>76.062418256971938</c:v>
                </c:pt>
                <c:pt idx="24">
                  <c:v>74.021820131948189</c:v>
                </c:pt>
                <c:pt idx="25">
                  <c:v>72.0987020820345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46.90786081745358</c:v>
                </c:pt>
                <c:pt idx="1">
                  <c:v>128.87636270749766</c:v>
                </c:pt>
                <c:pt idx="2">
                  <c:v>115.74327085372984</c:v>
                </c:pt>
                <c:pt idx="3">
                  <c:v>114.34171287457346</c:v>
                </c:pt>
                <c:pt idx="4">
                  <c:v>113.33925668607503</c:v>
                </c:pt>
                <c:pt idx="5">
                  <c:v>112.62939501099044</c:v>
                </c:pt>
                <c:pt idx="6">
                  <c:v>109.00824617619433</c:v>
                </c:pt>
                <c:pt idx="7">
                  <c:v>105.98362871871376</c:v>
                </c:pt>
                <c:pt idx="8">
                  <c:v>103.4277426450888</c:v>
                </c:pt>
                <c:pt idx="9">
                  <c:v>101.24466744909775</c:v>
                </c:pt>
                <c:pt idx="10">
                  <c:v>100.60085227949138</c:v>
                </c:pt>
                <c:pt idx="11">
                  <c:v>100</c:v>
                </c:pt>
                <c:pt idx="12">
                  <c:v>99.437841948923619</c:v>
                </c:pt>
                <c:pt idx="13">
                  <c:v>98.654151871666301</c:v>
                </c:pt>
                <c:pt idx="14">
                  <c:v>97.962896877550449</c:v>
                </c:pt>
                <c:pt idx="15">
                  <c:v>97.352666643423689</c:v>
                </c:pt>
                <c:pt idx="16">
                  <c:v>96.813749560410074</c:v>
                </c:pt>
                <c:pt idx="17">
                  <c:v>96.337846723395685</c:v>
                </c:pt>
                <c:pt idx="18">
                  <c:v>95.91783689416053</c:v>
                </c:pt>
                <c:pt idx="19">
                  <c:v>95.547583393351559</c:v>
                </c:pt>
                <c:pt idx="20">
                  <c:v>93.804090480423071</c:v>
                </c:pt>
                <c:pt idx="21">
                  <c:v>92.180583489499</c:v>
                </c:pt>
                <c:pt idx="22">
                  <c:v>90.665984148676955</c:v>
                </c:pt>
                <c:pt idx="23">
                  <c:v>89.250426184754929</c:v>
                </c:pt>
                <c:pt idx="24">
                  <c:v>87.925104459328125</c:v>
                </c:pt>
                <c:pt idx="25">
                  <c:v>86.6821447912990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30.4306691407422</c:v>
                </c:pt>
                <c:pt idx="1">
                  <c:v>115.96898455534324</c:v>
                </c:pt>
                <c:pt idx="2">
                  <c:v>105.49162817202082</c:v>
                </c:pt>
                <c:pt idx="3">
                  <c:v>105.48742392730246</c:v>
                </c:pt>
                <c:pt idx="4">
                  <c:v>105.78396455172705</c:v>
                </c:pt>
                <c:pt idx="5">
                  <c:v>106.29667611685689</c:v>
                </c:pt>
                <c:pt idx="6">
                  <c:v>103.97994176732664</c:v>
                </c:pt>
                <c:pt idx="7">
                  <c:v>102.13228762447086</c:v>
                </c:pt>
                <c:pt idx="8">
                  <c:v>100.65111607428612</c:v>
                </c:pt>
                <c:pt idx="9">
                  <c:v>99.459146477373324</c:v>
                </c:pt>
                <c:pt idx="10">
                  <c:v>99.726784702556699</c:v>
                </c:pt>
                <c:pt idx="11">
                  <c:v>100</c:v>
                </c:pt>
                <c:pt idx="12">
                  <c:v>100.27717567377552</c:v>
                </c:pt>
                <c:pt idx="13">
                  <c:v>100.29535889113377</c:v>
                </c:pt>
                <c:pt idx="14">
                  <c:v>100.37318816641574</c:v>
                </c:pt>
                <c:pt idx="15">
                  <c:v>100.50247282066604</c:v>
                </c:pt>
                <c:pt idx="16">
                  <c:v>100.67625060287284</c:v>
                </c:pt>
                <c:pt idx="17">
                  <c:v>100.88858637873095</c:v>
                </c:pt>
                <c:pt idx="18">
                  <c:v>101.13440454375169</c:v>
                </c:pt>
                <c:pt idx="19">
                  <c:v>101.40934986690158</c:v>
                </c:pt>
                <c:pt idx="20">
                  <c:v>100.19673768353725</c:v>
                </c:pt>
                <c:pt idx="21">
                  <c:v>99.073467522597554</c:v>
                </c:pt>
                <c:pt idx="22">
                  <c:v>98.031382033763222</c:v>
                </c:pt>
                <c:pt idx="23">
                  <c:v>97.063172400280635</c:v>
                </c:pt>
                <c:pt idx="24">
                  <c:v>96.162279527998322</c:v>
                </c:pt>
                <c:pt idx="25">
                  <c:v>95.3228077096161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970134810815142</c:v>
                </c:pt>
                <c:pt idx="1">
                  <c:v>0.56716403712326735</c:v>
                </c:pt>
                <c:pt idx="2">
                  <c:v>0.5743779698378797</c:v>
                </c:pt>
                <c:pt idx="3">
                  <c:v>0.58135538016840638</c:v>
                </c:pt>
                <c:pt idx="4">
                  <c:v>0.58810771274633511</c:v>
                </c:pt>
                <c:pt idx="5">
                  <c:v>0.5946456855598854</c:v>
                </c:pt>
                <c:pt idx="6">
                  <c:v>0.60097934672301234</c:v>
                </c:pt>
                <c:pt idx="7">
                  <c:v>0.60711812600419657</c:v>
                </c:pt>
                <c:pt idx="8">
                  <c:v>0.61307088167079971</c:v>
                </c:pt>
                <c:pt idx="9">
                  <c:v>0.61884594313839969</c:v>
                </c:pt>
                <c:pt idx="10">
                  <c:v>0.6244511498569526</c:v>
                </c:pt>
                <c:pt idx="11">
                  <c:v>0.62989388681554759</c:v>
                </c:pt>
                <c:pt idx="12">
                  <c:v>0.63518111700389679</c:v>
                </c:pt>
                <c:pt idx="13">
                  <c:v>0.64031941113060264</c:v>
                </c:pt>
                <c:pt idx="14">
                  <c:v>0.64531497486489975</c:v>
                </c:pt>
                <c:pt idx="15">
                  <c:v>0.65017367383935298</c:v>
                </c:pt>
                <c:pt idx="16">
                  <c:v>0.65490105662530773</c:v>
                </c:pt>
                <c:pt idx="17">
                  <c:v>0.65950237587030358</c:v>
                </c:pt>
                <c:pt idx="18">
                  <c:v>0.66398260776674722</c:v>
                </c:pt>
                <c:pt idx="19">
                  <c:v>0.66834647000354253</c:v>
                </c:pt>
                <c:pt idx="20">
                  <c:v>0.67259843833683042</c:v>
                </c:pt>
                <c:pt idx="21">
                  <c:v>0.67674276190218707</c:v>
                </c:pt>
                <c:pt idx="22">
                  <c:v>0.68078347737840983</c:v>
                </c:pt>
                <c:pt idx="23">
                  <c:v>0.68472442210213302</c:v>
                </c:pt>
                <c:pt idx="24">
                  <c:v>0.68856924622283888</c:v>
                </c:pt>
                <c:pt idx="25">
                  <c:v>0.692321423979190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Banana Boat Advanced Protection Lotion FPS50+ 240ml (2.8%)</c:v>
                </c:pt>
                <c:pt idx="4">
                  <c:v>Nivea Sun Protection &amp; Hydration Lotion FPS50+ 125ml (4.5%)</c:v>
                </c:pt>
                <c:pt idx="5">
                  <c:v>Banana Boat Aqua Protect Cream FPS50+ 236ml (2.7%)</c:v>
                </c:pt>
                <c:pt idx="6">
                  <c:v>Hawaiian Tropic Sheer Touch Lotion FPS50+ 240ml (4.4%)</c:v>
                </c:pt>
                <c:pt idx="7">
                  <c:v>Hawaiian Tropic Island Sport Lotion FPS50 240ml (3.6%)</c:v>
                </c:pt>
                <c:pt idx="8">
                  <c:v>Nivea Sun Protect &amp; Refresh Sport Lotion FPS50 200ml (5.8%)</c:v>
                </c:pt>
                <c:pt idx="9">
                  <c:v>Banana Boat Aqua Protect Sport Lotion FPS50+ 236ml (3.1%)</c:v>
                </c:pt>
              </c:strCache>
            </c:strRef>
          </c:cat>
          <c:val>
            <c:numRef>
              <c:f>Sheet1!$B$2:$B$11</c:f>
              <c:numCache>
                <c:formatCode>General</c:formatCode>
                <c:ptCount val="10"/>
                <c:pt idx="0">
                  <c:v>9.8130454937196923E-2</c:v>
                </c:pt>
                <c:pt idx="1">
                  <c:v>5.4787747221003782E-2</c:v>
                </c:pt>
                <c:pt idx="2">
                  <c:v>5.2726121538433368E-2</c:v>
                </c:pt>
                <c:pt idx="3">
                  <c:v>5.0988288940383084E-2</c:v>
                </c:pt>
                <c:pt idx="4">
                  <c:v>4.6829890437179597E-2</c:v>
                </c:pt>
                <c:pt idx="5">
                  <c:v>4.5123795382211604E-2</c:v>
                </c:pt>
                <c:pt idx="6">
                  <c:v>4.4579561315592466E-2</c:v>
                </c:pt>
                <c:pt idx="7">
                  <c:v>4.2421174808452124E-2</c:v>
                </c:pt>
                <c:pt idx="8">
                  <c:v>3.8732386086913109E-2</c:v>
                </c:pt>
                <c:pt idx="9">
                  <c:v>3.76625394683198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Hawaiian Tropic Sheer Touch Lotion FPS50+ 240ml (4.4%)</c:v>
                </c:pt>
                <c:pt idx="4">
                  <c:v>Hawaiian Tropic Island Sport Lotion FPS50 240ml (3.6%)</c:v>
                </c:pt>
                <c:pt idx="5">
                  <c:v>Banana Boat Advanced Protection Lotion FPS50+ 240ml (2.8%)</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10535275423694319</c:v>
                </c:pt>
                <c:pt idx="1">
                  <c:v>6.2398864862006284E-2</c:v>
                </c:pt>
                <c:pt idx="2">
                  <c:v>5.6365013712033479E-2</c:v>
                </c:pt>
                <c:pt idx="3">
                  <c:v>5.6065774127455656E-2</c:v>
                </c:pt>
                <c:pt idx="4">
                  <c:v>5.3810858142325634E-2</c:v>
                </c:pt>
                <c:pt idx="5">
                  <c:v>5.0840016147087455E-2</c:v>
                </c:pt>
                <c:pt idx="6">
                  <c:v>4.4814794498537709E-2</c:v>
                </c:pt>
                <c:pt idx="7">
                  <c:v>4.265600655762062E-2</c:v>
                </c:pt>
                <c:pt idx="8">
                  <c:v>3.7016915785615154E-2</c:v>
                </c:pt>
                <c:pt idx="9">
                  <c:v>3.47858684549029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46.87283154558369</c:v>
                </c:pt>
                <c:pt idx="1">
                  <c:v>132.89328916527387</c:v>
                </c:pt>
                <c:pt idx="2">
                  <c:v>122.16624114195341</c:v>
                </c:pt>
                <c:pt idx="3">
                  <c:v>119.66346371676923</c:v>
                </c:pt>
                <c:pt idx="4">
                  <c:v>117.47366442521907</c:v>
                </c:pt>
                <c:pt idx="5">
                  <c:v>115.52216579524955</c:v>
                </c:pt>
                <c:pt idx="6">
                  <c:v>111.89162656965999</c:v>
                </c:pt>
                <c:pt idx="7">
                  <c:v>108.68625174228082</c:v>
                </c:pt>
                <c:pt idx="8">
                  <c:v>105.82265341884987</c:v>
                </c:pt>
                <c:pt idx="9">
                  <c:v>103.2378485045718</c:v>
                </c:pt>
                <c:pt idx="10">
                  <c:v>101.586130764782</c:v>
                </c:pt>
                <c:pt idx="11">
                  <c:v>100</c:v>
                </c:pt>
                <c:pt idx="12">
                  <c:v>98.474678448074656</c:v>
                </c:pt>
                <c:pt idx="13">
                  <c:v>96.982379453073463</c:v>
                </c:pt>
                <c:pt idx="14">
                  <c:v>95.575316472256915</c:v>
                </c:pt>
                <c:pt idx="15">
                  <c:v>94.244349058935768</c:v>
                </c:pt>
                <c:pt idx="16">
                  <c:v>92.981657237486814</c:v>
                </c:pt>
                <c:pt idx="17">
                  <c:v>91.780519320121854</c:v>
                </c:pt>
                <c:pt idx="18">
                  <c:v>90.635130265889558</c:v>
                </c:pt>
                <c:pt idx="19">
                  <c:v>89.540452900046461</c:v>
                </c:pt>
                <c:pt idx="20">
                  <c:v>87.654438576974229</c:v>
                </c:pt>
                <c:pt idx="21">
                  <c:v>85.862719958561783</c:v>
                </c:pt>
                <c:pt idx="22">
                  <c:v>84.157719422080675</c:v>
                </c:pt>
                <c:pt idx="23">
                  <c:v>82.532660092592479</c:v>
                </c:pt>
                <c:pt idx="24">
                  <c:v>80.981464867445396</c:v>
                </c:pt>
                <c:pt idx="25">
                  <c:v>79.4986698643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23.53949880376032</c:v>
                </c:pt>
                <c:pt idx="1">
                  <c:v>113.69324569952848</c:v>
                </c:pt>
                <c:pt idx="2">
                  <c:v>106.27574506257933</c:v>
                </c:pt>
                <c:pt idx="3">
                  <c:v>105.82767313034951</c:v>
                </c:pt>
                <c:pt idx="4">
                  <c:v>105.58860502483289</c:v>
                </c:pt>
                <c:pt idx="5">
                  <c:v>105.50388943627755</c:v>
                </c:pt>
                <c:pt idx="6">
                  <c:v>103.80561957970906</c:v>
                </c:pt>
                <c:pt idx="7">
                  <c:v>102.40296222135778</c:v>
                </c:pt>
                <c:pt idx="8">
                  <c:v>101.23458545400055</c:v>
                </c:pt>
                <c:pt idx="9">
                  <c:v>100.25414954712868</c:v>
                </c:pt>
                <c:pt idx="10">
                  <c:v>100.1181543292092</c:v>
                </c:pt>
                <c:pt idx="11">
                  <c:v>100</c:v>
                </c:pt>
                <c:pt idx="12">
                  <c:v>99.897682728765929</c:v>
                </c:pt>
                <c:pt idx="13">
                  <c:v>99.78585453817098</c:v>
                </c:pt>
                <c:pt idx="14">
                  <c:v>99.719787943088591</c:v>
                </c:pt>
                <c:pt idx="15">
                  <c:v>99.693510814026553</c:v>
                </c:pt>
                <c:pt idx="16">
                  <c:v>99.701938506148096</c:v>
                </c:pt>
                <c:pt idx="17">
                  <c:v>99.740727812620946</c:v>
                </c:pt>
                <c:pt idx="18">
                  <c:v>99.806156301607814</c:v>
                </c:pt>
                <c:pt idx="19">
                  <c:v>99.895022566334006</c:v>
                </c:pt>
                <c:pt idx="20">
                  <c:v>99.056854641960356</c:v>
                </c:pt>
                <c:pt idx="21">
                  <c:v>98.272181852242952</c:v>
                </c:pt>
                <c:pt idx="22">
                  <c:v>97.536300514233204</c:v>
                </c:pt>
                <c:pt idx="23">
                  <c:v>96.845009836158354</c:v>
                </c:pt>
                <c:pt idx="24">
                  <c:v>96.194549625411838</c:v>
                </c:pt>
                <c:pt idx="25">
                  <c:v>95.5815466193096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09.25263603446061</c:v>
                </c:pt>
                <c:pt idx="1">
                  <c:v>101.9483277198522</c:v>
                </c:pt>
                <c:pt idx="2">
                  <c:v>96.563844804005512</c:v>
                </c:pt>
                <c:pt idx="3">
                  <c:v>97.372006898143525</c:v>
                </c:pt>
                <c:pt idx="4">
                  <c:v>98.325574799874033</c:v>
                </c:pt>
                <c:pt idx="5">
                  <c:v>99.382168106518705</c:v>
                </c:pt>
                <c:pt idx="6">
                  <c:v>98.864324393560182</c:v>
                </c:pt>
                <c:pt idx="7">
                  <c:v>98.562965936239806</c:v>
                </c:pt>
                <c:pt idx="8">
                  <c:v>98.430230632114686</c:v>
                </c:pt>
                <c:pt idx="9">
                  <c:v>98.429943964397253</c:v>
                </c:pt>
                <c:pt idx="10">
                  <c:v>99.220639685698174</c:v>
                </c:pt>
                <c:pt idx="11">
                  <c:v>100</c:v>
                </c:pt>
                <c:pt idx="12">
                  <c:v>100.76771758275676</c:v>
                </c:pt>
                <c:pt idx="13">
                  <c:v>101.49895965349019</c:v>
                </c:pt>
                <c:pt idx="14">
                  <c:v>102.25189397728758</c:v>
                </c:pt>
                <c:pt idx="15">
                  <c:v>103.02248305319837</c:v>
                </c:pt>
                <c:pt idx="16">
                  <c:v>103.80731222886514</c:v>
                </c:pt>
                <c:pt idx="17">
                  <c:v>104.60349021492652</c:v>
                </c:pt>
                <c:pt idx="18">
                  <c:v>105.40856570801667</c:v>
                </c:pt>
                <c:pt idx="19">
                  <c:v>106.22045761782618</c:v>
                </c:pt>
                <c:pt idx="20">
                  <c:v>106.02419159753535</c:v>
                </c:pt>
                <c:pt idx="21">
                  <c:v>105.8563447337926</c:v>
                </c:pt>
                <c:pt idx="22">
                  <c:v>105.71398564989083</c:v>
                </c:pt>
                <c:pt idx="23">
                  <c:v>105.59450167025501</c:v>
                </c:pt>
                <c:pt idx="24">
                  <c:v>105.49556050774814</c:v>
                </c:pt>
                <c:pt idx="25">
                  <c:v>105.41507696899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077671028186825</c:v>
                </c:pt>
                <c:pt idx="1">
                  <c:v>0.55839066434488738</c:v>
                </c:pt>
                <c:pt idx="2">
                  <c:v>0.56575081993913945</c:v>
                </c:pt>
                <c:pt idx="3">
                  <c:v>0.57286965895653053</c:v>
                </c:pt>
                <c:pt idx="4">
                  <c:v>0.57975885800561877</c:v>
                </c:pt>
                <c:pt idx="5">
                  <c:v>0.58642935232298998</c:v>
                </c:pt>
                <c:pt idx="6">
                  <c:v>0.59289139369294308</c:v>
                </c:pt>
                <c:pt idx="7">
                  <c:v>0.59915460302074397</c:v>
                </c:pt>
                <c:pt idx="8">
                  <c:v>0.60522801812649041</c:v>
                </c:pt>
                <c:pt idx="9">
                  <c:v>0.61112013725893088</c:v>
                </c:pt>
                <c:pt idx="10">
                  <c:v>0.61683895876982897</c:v>
                </c:pt>
                <c:pt idx="11">
                  <c:v>0.62239201733838212</c:v>
                </c:pt>
                <c:pt idx="12">
                  <c:v>0.62778641709069094</c:v>
                </c:pt>
                <c:pt idx="13">
                  <c:v>0.63302886192039953</c:v>
                </c:pt>
                <c:pt idx="14">
                  <c:v>0.63812568328261621</c:v>
                </c:pt>
                <c:pt idx="15">
                  <c:v>0.64308286570340234</c:v>
                </c:pt>
                <c:pt idx="16">
                  <c:v>0.64790607022092384</c:v>
                </c:pt>
                <c:pt idx="17">
                  <c:v>0.65260065595131156</c:v>
                </c:pt>
                <c:pt idx="18">
                  <c:v>0.65717169995195213</c:v>
                </c:pt>
                <c:pt idx="19">
                  <c:v>0.66162401553699168</c:v>
                </c:pt>
                <c:pt idx="20">
                  <c:v>0.66596216918395346</c:v>
                </c:pt>
                <c:pt idx="21">
                  <c:v>0.67019049615630844</c:v>
                </c:pt>
                <c:pt idx="22">
                  <c:v>0.67431311495435464</c:v>
                </c:pt>
                <c:pt idx="23">
                  <c:v>0.67833394069565878</c:v>
                </c:pt>
                <c:pt idx="24">
                  <c:v>0.68225669751644358</c:v>
                </c:pt>
                <c:pt idx="25">
                  <c:v>0.6860849300764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ion Sensitive Skin Gel FPS50+ 200ml (5.1%)</c:v>
                </c:pt>
                <c:pt idx="4">
                  <c:v>Nivea Sun Protect &amp; Refresh Sport Lotion FPS50 200ml (5.8%)</c:v>
                </c:pt>
                <c:pt idx="5">
                  <c:v>Hawaiian Tropic Ozono Lotion FPS50+ 240ml (4.4%)</c:v>
                </c:pt>
                <c:pt idx="6">
                  <c:v>Hawaiian Tropic Island Sport Lotion FPS50 240ml (3.6%)</c:v>
                </c:pt>
                <c:pt idx="7">
                  <c:v>Banana Boat Aqua Protect Cream FPS50+ 236ml (2.7%)</c:v>
                </c:pt>
                <c:pt idx="8">
                  <c:v>Hawaiian Tropic Sheer Touch Lotion FPS50+ 240ml (4.4%)</c:v>
                </c:pt>
                <c:pt idx="9">
                  <c:v>Equate Sport Lotion FPS30 237ml (2.0%)</c:v>
                </c:pt>
              </c:strCache>
            </c:strRef>
          </c:cat>
          <c:val>
            <c:numRef>
              <c:f>Sheet1!$B$2:$B$11</c:f>
              <c:numCache>
                <c:formatCode>General</c:formatCode>
                <c:ptCount val="10"/>
                <c:pt idx="0">
                  <c:v>0.10033930683197841</c:v>
                </c:pt>
                <c:pt idx="1">
                  <c:v>5.2244744709979522E-2</c:v>
                </c:pt>
                <c:pt idx="2">
                  <c:v>4.9907311780202364E-2</c:v>
                </c:pt>
                <c:pt idx="3">
                  <c:v>4.9412003777519996E-2</c:v>
                </c:pt>
                <c:pt idx="4">
                  <c:v>4.6156966025197754E-2</c:v>
                </c:pt>
                <c:pt idx="5">
                  <c:v>4.1735643492849923E-2</c:v>
                </c:pt>
                <c:pt idx="6">
                  <c:v>3.8059754806678156E-2</c:v>
                </c:pt>
                <c:pt idx="7">
                  <c:v>3.7430585692045999E-2</c:v>
                </c:pt>
                <c:pt idx="8">
                  <c:v>3.4443336105648481E-2</c:v>
                </c:pt>
                <c:pt idx="9">
                  <c:v>3.442117075294384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Banana Boat Aqua Protect Sport Lotion FPS50+ 236ml (3.1%)</c:v>
                </c:pt>
                <c:pt idx="3">
                  <c:v>Nivea Sun Protect &amp; Refresh Sport Lotion FPS50 200ml (5.8%)</c:v>
                </c:pt>
                <c:pt idx="4">
                  <c:v>Hawaiian Tropic Island Sport Lotion FPS50 240ml (3.6%)</c:v>
                </c:pt>
                <c:pt idx="5">
                  <c:v>Hawaiian Tropic Ozono Lotion FPS50+ 240ml (4.4%)</c:v>
                </c:pt>
                <c:pt idx="6">
                  <c:v>Hawaiian Tropic Sheer Touch Lotion FPS50+ 240ml (4.4%)</c:v>
                </c:pt>
                <c:pt idx="7">
                  <c:v>Nivea Sun Protection &amp; Hydration Lotion FPS50+ 125ml (4.5%)</c:v>
                </c:pt>
                <c:pt idx="8">
                  <c:v>Banana Boat Aqua Protect Cream FPS50+ 236ml (2.7%)</c:v>
                </c:pt>
                <c:pt idx="9">
                  <c:v>Banana Boat Aqua Protect Kids Cream FPS50+ 236ml (1.9%)</c:v>
                </c:pt>
              </c:strCache>
            </c:strRef>
          </c:cat>
          <c:val>
            <c:numRef>
              <c:f>Sheet1!$B$2:$B$11</c:f>
              <c:numCache>
                <c:formatCode>General</c:formatCode>
                <c:ptCount val="10"/>
                <c:pt idx="0">
                  <c:v>0.10987212115447786</c:v>
                </c:pt>
                <c:pt idx="1">
                  <c:v>5.2988620052488757E-2</c:v>
                </c:pt>
                <c:pt idx="2">
                  <c:v>5.1832143729953983E-2</c:v>
                </c:pt>
                <c:pt idx="3">
                  <c:v>5.0571651131334466E-2</c:v>
                </c:pt>
                <c:pt idx="4">
                  <c:v>4.7165666633969872E-2</c:v>
                </c:pt>
                <c:pt idx="5">
                  <c:v>4.5929405084503418E-2</c:v>
                </c:pt>
                <c:pt idx="6">
                  <c:v>4.2358203490095982E-2</c:v>
                </c:pt>
                <c:pt idx="7">
                  <c:v>3.950393861444685E-2</c:v>
                </c:pt>
                <c:pt idx="8">
                  <c:v>3.7452169910185303E-2</c:v>
                </c:pt>
                <c:pt idx="9">
                  <c:v>3.410827535114790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3326875527247027</c:v>
                </c:pt>
                <c:pt idx="1">
                  <c:v>0.25042910554079983</c:v>
                </c:pt>
                <c:pt idx="2">
                  <c:v>0</c:v>
                </c:pt>
                <c:pt idx="3">
                  <c:v>-0.13094053702016548</c:v>
                </c:pt>
                <c:pt idx="4">
                  <c:v>-0.2178822684788115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Kids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33010208404240576</c:v>
                </c:pt>
                <c:pt idx="1">
                  <c:v>0.1014243380481111</c:v>
                </c:pt>
                <c:pt idx="2">
                  <c:v>0</c:v>
                </c:pt>
                <c:pt idx="3">
                  <c:v>-0.13783628870686612</c:v>
                </c:pt>
                <c:pt idx="4">
                  <c:v>-0.171988435330915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Kids Sport Spray FPS50 170g</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30</c:v>
                </c:pt>
                <c:pt idx="1">
                  <c:v>350</c:v>
                </c:pt>
                <c:pt idx="2">
                  <c:v>385</c:v>
                </c:pt>
                <c:pt idx="3">
                  <c:v>430</c:v>
                </c:pt>
                <c:pt idx="4">
                  <c:v>465</c:v>
                </c:pt>
              </c:numCache>
            </c:numRef>
          </c:xVal>
          <c:yVal>
            <c:numRef>
              <c:f>Sheet1!$B$16:$B$20</c:f>
              <c:numCache>
                <c:formatCode>General</c:formatCode>
                <c:ptCount val="5"/>
                <c:pt idx="0">
                  <c:v>0.20649257716514827</c:v>
                </c:pt>
                <c:pt idx="1">
                  <c:v>0.11296431480626862</c:v>
                </c:pt>
                <c:pt idx="2">
                  <c:v>0</c:v>
                </c:pt>
                <c:pt idx="3">
                  <c:v>-0.13950754995207965</c:v>
                </c:pt>
                <c:pt idx="4">
                  <c:v>-0.22152641573042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1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3.32687552724704</c:v>
                </c:pt>
                <c:pt idx="1">
                  <c:v>136.20030839762728</c:v>
                </c:pt>
                <c:pt idx="2">
                  <c:v>130.20250169574243</c:v>
                </c:pt>
                <c:pt idx="3">
                  <c:v>125.04291055408004</c:v>
                </c:pt>
                <c:pt idx="4">
                  <c:v>123.13443286093302</c:v>
                </c:pt>
                <c:pt idx="5">
                  <c:v>121.27917395636776</c:v>
                </c:pt>
                <c:pt idx="6">
                  <c:v>119.47471532457448</c:v>
                </c:pt>
                <c:pt idx="7">
                  <c:v>109.53363110916541</c:v>
                </c:pt>
                <c:pt idx="8">
                  <c:v>101.69583352308204</c:v>
                </c:pt>
                <c:pt idx="9">
                  <c:v>100</c:v>
                </c:pt>
                <c:pt idx="10">
                  <c:v>98.469828152372301</c:v>
                </c:pt>
                <c:pt idx="11">
                  <c:v>97.070319810493984</c:v>
                </c:pt>
                <c:pt idx="12">
                  <c:v>94.08896185937347</c:v>
                </c:pt>
                <c:pt idx="13">
                  <c:v>91.440967204043005</c:v>
                </c:pt>
                <c:pt idx="14">
                  <c:v>89.06279458445951</c:v>
                </c:pt>
                <c:pt idx="15">
                  <c:v>86.905946297983434</c:v>
                </c:pt>
                <c:pt idx="16">
                  <c:v>85.516720011892218</c:v>
                </c:pt>
                <c:pt idx="17">
                  <c:v>84.180565081078612</c:v>
                </c:pt>
                <c:pt idx="18">
                  <c:v>82.893876893049992</c:v>
                </c:pt>
                <c:pt idx="19">
                  <c:v>81.625411068968845</c:v>
                </c:pt>
                <c:pt idx="20">
                  <c:v>80.42703497341958</c:v>
                </c:pt>
                <c:pt idx="21">
                  <c:v>79.291285021969671</c:v>
                </c:pt>
                <c:pt idx="22">
                  <c:v>78.2117731521188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2.35622117905329</c:v>
                </c:pt>
                <c:pt idx="1">
                  <c:v>118.48473326500589</c:v>
                </c:pt>
                <c:pt idx="2">
                  <c:v>115.38340556009854</c:v>
                </c:pt>
                <c:pt idx="3">
                  <c:v>112.84456974325026</c:v>
                </c:pt>
                <c:pt idx="4">
                  <c:v>113.13098076104895</c:v>
                </c:pt>
                <c:pt idx="5">
                  <c:v>113.4047806238226</c:v>
                </c:pt>
                <c:pt idx="6">
                  <c:v>113.66628174569978</c:v>
                </c:pt>
                <c:pt idx="7">
                  <c:v>105.97600540592738</c:v>
                </c:pt>
                <c:pt idx="8">
                  <c:v>100.03752419995054</c:v>
                </c:pt>
                <c:pt idx="9">
                  <c:v>100</c:v>
                </c:pt>
                <c:pt idx="10">
                  <c:v>100.07568941098795</c:v>
                </c:pt>
                <c:pt idx="11">
                  <c:v>100.23650056235458</c:v>
                </c:pt>
                <c:pt idx="12">
                  <c:v>98.691236305749314</c:v>
                </c:pt>
                <c:pt idx="13">
                  <c:v>97.404131832407032</c:v>
                </c:pt>
                <c:pt idx="14">
                  <c:v>96.322703061163779</c:v>
                </c:pt>
                <c:pt idx="15">
                  <c:v>95.406855895440373</c:v>
                </c:pt>
                <c:pt idx="16">
                  <c:v>95.276123139411297</c:v>
                </c:pt>
                <c:pt idx="17">
                  <c:v>95.160083399239497</c:v>
                </c:pt>
                <c:pt idx="18">
                  <c:v>95.057196690423808</c:v>
                </c:pt>
                <c:pt idx="19">
                  <c:v>94.934324841623919</c:v>
                </c:pt>
                <c:pt idx="20">
                  <c:v>94.852732152539204</c:v>
                </c:pt>
                <c:pt idx="21">
                  <c:v>94.806919656203732</c:v>
                </c:pt>
                <c:pt idx="22">
                  <c:v>94.7922059883060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09.48456674550349</c:v>
                </c:pt>
                <c:pt idx="1">
                  <c:v>107.61401026846447</c:v>
                </c:pt>
                <c:pt idx="2">
                  <c:v>106.2909802930172</c:v>
                </c:pt>
                <c:pt idx="3">
                  <c:v>105.35950842696276</c:v>
                </c:pt>
                <c:pt idx="4">
                  <c:v>106.98194737310764</c:v>
                </c:pt>
                <c:pt idx="5">
                  <c:v>108.55188036811137</c:v>
                </c:pt>
                <c:pt idx="6">
                  <c:v>110.07126791865629</c:v>
                </c:pt>
                <c:pt idx="7">
                  <c:v>103.78628539663745</c:v>
                </c:pt>
                <c:pt idx="8">
                  <c:v>99.027789439898498</c:v>
                </c:pt>
                <c:pt idx="9">
                  <c:v>100</c:v>
                </c:pt>
                <c:pt idx="10">
                  <c:v>101.05323627512901</c:v>
                </c:pt>
                <c:pt idx="11">
                  <c:v>102.16370237005275</c:v>
                </c:pt>
                <c:pt idx="12">
                  <c:v>101.4943831815206</c:v>
                </c:pt>
                <c:pt idx="13">
                  <c:v>101.0369761282024</c:v>
                </c:pt>
                <c:pt idx="14">
                  <c:v>100.74584264507298</c:v>
                </c:pt>
                <c:pt idx="15">
                  <c:v>100.58608762419674</c:v>
                </c:pt>
                <c:pt idx="16">
                  <c:v>101.22175527790891</c:v>
                </c:pt>
                <c:pt idx="17">
                  <c:v>101.84873895234297</c:v>
                </c:pt>
                <c:pt idx="18">
                  <c:v>102.46675998012414</c:v>
                </c:pt>
                <c:pt idx="19">
                  <c:v>103.04027021268773</c:v>
                </c:pt>
                <c:pt idx="20">
                  <c:v>103.63753968049183</c:v>
                </c:pt>
                <c:pt idx="21">
                  <c:v>104.2542715895016</c:v>
                </c:pt>
                <c:pt idx="22">
                  <c:v>104.886828242785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992787191115179</c:v>
                </c:pt>
                <c:pt idx="1">
                  <c:v>0.56823111961094142</c:v>
                </c:pt>
                <c:pt idx="2">
                  <c:v>0.57622683961814636</c:v>
                </c:pt>
                <c:pt idx="3">
                  <c:v>0.58393180617054352</c:v>
                </c:pt>
                <c:pt idx="4">
                  <c:v>0.59136159534606947</c:v>
                </c:pt>
                <c:pt idx="5">
                  <c:v>0.59853069016455951</c:v>
                </c:pt>
                <c:pt idx="6">
                  <c:v>0.60545257481689485</c:v>
                </c:pt>
                <c:pt idx="7">
                  <c:v>0.61213981931152361</c:v>
                </c:pt>
                <c:pt idx="8">
                  <c:v>0.61860415565633164</c:v>
                </c:pt>
                <c:pt idx="9">
                  <c:v>0.62485654654721134</c:v>
                </c:pt>
                <c:pt idx="10">
                  <c:v>0.63090724740935311</c:v>
                </c:pt>
                <c:pt idx="11">
                  <c:v>0.63676586252983969</c:v>
                </c:pt>
                <c:pt idx="12">
                  <c:v>0.64244139592781091</c:v>
                </c:pt>
                <c:pt idx="13">
                  <c:v>0.64794229752892163</c:v>
                </c:pt>
                <c:pt idx="14">
                  <c:v>0.65327650514211966</c:v>
                </c:pt>
                <c:pt idx="15">
                  <c:v>0.65845148267731179</c:v>
                </c:pt>
                <c:pt idx="16">
                  <c:v>0.66347425499088086</c:v>
                </c:pt>
                <c:pt idx="17">
                  <c:v>0.66835143970115785</c:v>
                </c:pt>
                <c:pt idx="18">
                  <c:v>0.67308927627685577</c:v>
                </c:pt>
                <c:pt idx="19">
                  <c:v>0.67769365266732251</c:v>
                </c:pt>
                <c:pt idx="20">
                  <c:v>0.68217012971360969</c:v>
                </c:pt>
                <c:pt idx="21">
                  <c:v>0.68652396355314926</c:v>
                </c:pt>
                <c:pt idx="22">
                  <c:v>0.690760126207836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 &amp; Refresh Sport Lotion FPS50 200ml (5.8%)</c:v>
                </c:pt>
                <c:pt idx="3">
                  <c:v>Hawaiian Tropic Sheer Touch Lotion FPS50+ 240ml (4.4%)</c:v>
                </c:pt>
                <c:pt idx="4">
                  <c:v>Nivea Sun Protection &amp; Hydration Lotion FPS50+ 125ml (4.5%)</c:v>
                </c:pt>
                <c:pt idx="5">
                  <c:v>Hawaiian Tropic Ozono Lotion FPS50+ 240ml (4.4%)</c:v>
                </c:pt>
                <c:pt idx="6">
                  <c:v>Hawaiian Tropic Island Sport Lotion FPS50 240ml (3.6%)</c:v>
                </c:pt>
                <c:pt idx="7">
                  <c:v>Banana Boat Aqua Protect Cream FPS50+ 236ml (2.7%)</c:v>
                </c:pt>
                <c:pt idx="8">
                  <c:v>Banana Boat Advanced Protection Lotion FPS50+ 240ml (2.8%)</c:v>
                </c:pt>
                <c:pt idx="9">
                  <c:v>Banana Boat Aqua Protect Sport Lotion FPS50+ 236ml (3.1%)</c:v>
                </c:pt>
              </c:strCache>
            </c:strRef>
          </c:cat>
          <c:val>
            <c:numRef>
              <c:f>Sheet1!$B$2:$B$11</c:f>
              <c:numCache>
                <c:formatCode>General</c:formatCode>
                <c:ptCount val="10"/>
                <c:pt idx="0">
                  <c:v>9.5029750173142413E-2</c:v>
                </c:pt>
                <c:pt idx="1">
                  <c:v>6.5529800095144974E-2</c:v>
                </c:pt>
                <c:pt idx="2">
                  <c:v>5.8673548184604157E-2</c:v>
                </c:pt>
                <c:pt idx="3">
                  <c:v>5.7081995309740549E-2</c:v>
                </c:pt>
                <c:pt idx="4">
                  <c:v>5.0367327346764391E-2</c:v>
                </c:pt>
                <c:pt idx="5">
                  <c:v>4.3654316653704034E-2</c:v>
                </c:pt>
                <c:pt idx="6">
                  <c:v>4.1073372570012222E-2</c:v>
                </c:pt>
                <c:pt idx="7">
                  <c:v>3.9529517666078089E-2</c:v>
                </c:pt>
                <c:pt idx="8">
                  <c:v>3.7425989021988217E-2</c:v>
                </c:pt>
                <c:pt idx="9">
                  <c:v>3.290727873277605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uvel (2.3%)</c:v>
                </c:pt>
                <c:pt idx="6">
                  <c:v>Neutrogena (2.7%)</c:v>
                </c:pt>
                <c:pt idx="7">
                  <c:v>Garnier (1.7%)</c:v>
                </c:pt>
                <c:pt idx="8">
                  <c:v>La Roche-Posay (1.9%)</c:v>
                </c:pt>
                <c:pt idx="9">
                  <c:v>L'Oreal Paris (0.9%)</c:v>
                </c:pt>
              </c:strCache>
            </c:strRef>
          </c:cat>
          <c:val>
            <c:numRef>
              <c:f>Sheet1!$B$2:$B$11</c:f>
              <c:numCache>
                <c:formatCode>General</c:formatCode>
                <c:ptCount val="10"/>
                <c:pt idx="0">
                  <c:v>0.33567636564994524</c:v>
                </c:pt>
                <c:pt idx="1">
                  <c:v>0.20281547750682058</c:v>
                </c:pt>
                <c:pt idx="2">
                  <c:v>0.17023299392368527</c:v>
                </c:pt>
                <c:pt idx="3">
                  <c:v>0.11342957173950682</c:v>
                </c:pt>
                <c:pt idx="4">
                  <c:v>8.8850186706720222E-2</c:v>
                </c:pt>
                <c:pt idx="5">
                  <c:v>2.2295106814588479E-2</c:v>
                </c:pt>
                <c:pt idx="6">
                  <c:v>2.1078479205629164E-2</c:v>
                </c:pt>
                <c:pt idx="7">
                  <c:v>8.9506386100784621E-3</c:v>
                </c:pt>
                <c:pt idx="8">
                  <c:v>8.8010445180686601E-3</c:v>
                </c:pt>
                <c:pt idx="9">
                  <c:v>7.3439779841587942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Sensitive Skin Gel FPS50+ 200ml (5.1%)</c:v>
                </c:pt>
                <c:pt idx="3">
                  <c:v>Nivea Sun Protection &amp; Hydration Lotion FPS50+ 125ml (4.5%)</c:v>
                </c:pt>
                <c:pt idx="4">
                  <c:v>Banana Boat Aqua Protect Sport Lotion FPS50+ 236ml (3.1%)</c:v>
                </c:pt>
                <c:pt idx="5">
                  <c:v>Hawaiian Tropic Ozono Lotion FPS50+ 240ml (4.4%)</c:v>
                </c:pt>
                <c:pt idx="6">
                  <c:v>Banana Boat Aqua Protect Cream FPS50+ 236ml (2.7%)</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9.6344836772188525E-2</c:v>
                </c:pt>
                <c:pt idx="1">
                  <c:v>6.9248329100903755E-2</c:v>
                </c:pt>
                <c:pt idx="2">
                  <c:v>5.925469010164075E-2</c:v>
                </c:pt>
                <c:pt idx="3">
                  <c:v>5.4334033672761517E-2</c:v>
                </c:pt>
                <c:pt idx="4">
                  <c:v>4.4189461214751563E-2</c:v>
                </c:pt>
                <c:pt idx="5">
                  <c:v>4.0560928714756743E-2</c:v>
                </c:pt>
                <c:pt idx="6">
                  <c:v>4.0176198480338141E-2</c:v>
                </c:pt>
                <c:pt idx="7">
                  <c:v>4.006569071549862E-2</c:v>
                </c:pt>
                <c:pt idx="8">
                  <c:v>3.1764375755295116E-2</c:v>
                </c:pt>
                <c:pt idx="9">
                  <c:v>3.114222454598570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33.01020840424061</c:v>
                </c:pt>
                <c:pt idx="1">
                  <c:v>124.0107801258776</c:v>
                </c:pt>
                <c:pt idx="2">
                  <c:v>116.49562030703275</c:v>
                </c:pt>
                <c:pt idx="3">
                  <c:v>110.14243380481115</c:v>
                </c:pt>
                <c:pt idx="4">
                  <c:v>104.70616592180843</c:v>
                </c:pt>
                <c:pt idx="5">
                  <c:v>100</c:v>
                </c:pt>
                <c:pt idx="6">
                  <c:v>96.343851252732051</c:v>
                </c:pt>
                <c:pt idx="7">
                  <c:v>93.006350802122569</c:v>
                </c:pt>
                <c:pt idx="8">
                  <c:v>89.938563140527322</c:v>
                </c:pt>
                <c:pt idx="9">
                  <c:v>87.101549259581432</c:v>
                </c:pt>
                <c:pt idx="10">
                  <c:v>86.216371129313401</c:v>
                </c:pt>
                <c:pt idx="11">
                  <c:v>85.343994780758067</c:v>
                </c:pt>
                <c:pt idx="12">
                  <c:v>84.484164968560407</c:v>
                </c:pt>
                <c:pt idx="13">
                  <c:v>83.636632986071263</c:v>
                </c:pt>
                <c:pt idx="14">
                  <c:v>82.8011564669085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17.55071588591359</c:v>
                </c:pt>
                <c:pt idx="1">
                  <c:v>112.48044225063687</c:v>
                </c:pt>
                <c:pt idx="2">
                  <c:v>108.3722250751518</c:v>
                </c:pt>
                <c:pt idx="3">
                  <c:v>105.02234913118417</c:v>
                </c:pt>
                <c:pt idx="4">
                  <c:v>102.2725505850655</c:v>
                </c:pt>
                <c:pt idx="5">
                  <c:v>100</c:v>
                </c:pt>
                <c:pt idx="6">
                  <c:v>98.581924229787447</c:v>
                </c:pt>
                <c:pt idx="7">
                  <c:v>97.327449294466831</c:v>
                </c:pt>
                <c:pt idx="8">
                  <c:v>96.206435078559551</c:v>
                </c:pt>
                <c:pt idx="9">
                  <c:v>95.195120104221402</c:v>
                </c:pt>
                <c:pt idx="10">
                  <c:v>96.230111558135263</c:v>
                </c:pt>
                <c:pt idx="11">
                  <c:v>97.238521959056939</c:v>
                </c:pt>
                <c:pt idx="12">
                  <c:v>98.220949997566223</c:v>
                </c:pt>
                <c:pt idx="13">
                  <c:v>99.177978226292268</c:v>
                </c:pt>
                <c:pt idx="14">
                  <c:v>100.11017358828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105.68967172505094</c:v>
                </c:pt>
                <c:pt idx="1">
                  <c:v>103.63314982100881</c:v>
                </c:pt>
                <c:pt idx="2">
                  <c:v>102.13857400623876</c:v>
                </c:pt>
                <c:pt idx="3">
                  <c:v>101.09305199028378</c:v>
                </c:pt>
                <c:pt idx="4">
                  <c:v>100.40479885995084</c:v>
                </c:pt>
                <c:pt idx="5">
                  <c:v>100</c:v>
                </c:pt>
                <c:pt idx="6">
                  <c:v>100.3016914118349</c:v>
                </c:pt>
                <c:pt idx="7">
                  <c:v>100.64781967574315</c:v>
                </c:pt>
                <c:pt idx="8">
                  <c:v>101.02268898004174</c:v>
                </c:pt>
                <c:pt idx="9">
                  <c:v>101.41420149829349</c:v>
                </c:pt>
                <c:pt idx="10">
                  <c:v>103.92536924340061</c:v>
                </c:pt>
                <c:pt idx="11">
                  <c:v>106.37976730736014</c:v>
                </c:pt>
                <c:pt idx="12">
                  <c:v>108.77864475124875</c:v>
                </c:pt>
                <c:pt idx="13">
                  <c:v>111.12321738146316</c:v>
                </c:pt>
                <c:pt idx="14">
                  <c:v>113.414668820975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50901400351658943</c:v>
                </c:pt>
                <c:pt idx="1">
                  <c:v>0.52160338804180517</c:v>
                </c:pt>
                <c:pt idx="2">
                  <c:v>0.53356330334075985</c:v>
                </c:pt>
                <c:pt idx="3">
                  <c:v>0.54493980813732668</c:v>
                </c:pt>
                <c:pt idx="4">
                  <c:v>0.55577457461024737</c:v>
                </c:pt>
                <c:pt idx="5">
                  <c:v>0.56610539845652075</c:v>
                </c:pt>
                <c:pt idx="6">
                  <c:v>0.57596663940069082</c:v>
                </c:pt>
                <c:pt idx="7">
                  <c:v>0.58538960296956422</c:v>
                </c:pt>
                <c:pt idx="8">
                  <c:v>0.59440287247022605</c:v>
                </c:pt>
                <c:pt idx="9">
                  <c:v>0.60303259858788061</c:v>
                </c:pt>
                <c:pt idx="10">
                  <c:v>0.61130275278396673</c:v>
                </c:pt>
                <c:pt idx="11">
                  <c:v>0.61923534966592642</c:v>
                </c:pt>
                <c:pt idx="12">
                  <c:v>0.62685064267260804</c:v>
                </c:pt>
                <c:pt idx="13">
                  <c:v>0.63416729673785099</c:v>
                </c:pt>
                <c:pt idx="14">
                  <c:v>0.641202541031353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Banana Boat Advanced Protection Lotion FPS50+ 240ml (2.8%)</c:v>
                </c:pt>
                <c:pt idx="3">
                  <c:v>Hawaiian Tropic Ozono Lotion FPS50+ 240ml (4.4%)</c:v>
                </c:pt>
                <c:pt idx="4">
                  <c:v>Hawaiian Tropic Sheer Touch Lotion FPS50+ 240ml (4.4%)</c:v>
                </c:pt>
                <c:pt idx="5">
                  <c:v>Nivea Sun Protection Sensitive Skin Gel FPS50+ 200ml (5.1%)</c:v>
                </c:pt>
                <c:pt idx="6">
                  <c:v>Equate Sport Lotion FPS30 237ml (2.0%)</c:v>
                </c:pt>
                <c:pt idx="7">
                  <c:v>Hawaiian Tropic Island Sport Lotion FPS50 240ml (3.6%)</c:v>
                </c:pt>
                <c:pt idx="8">
                  <c:v>Nivea Sun Protect &amp; Refresh Sport Lotion FPS50 200ml (5.8%)</c:v>
                </c:pt>
                <c:pt idx="9">
                  <c:v>Equate Ultra Spray FPS50 156g (1.7%)</c:v>
                </c:pt>
              </c:strCache>
            </c:strRef>
          </c:cat>
          <c:val>
            <c:numRef>
              <c:f>Sheet1!$B$2:$B$11</c:f>
              <c:numCache>
                <c:formatCode>General</c:formatCode>
                <c:ptCount val="10"/>
                <c:pt idx="0">
                  <c:v>6.1409411353033766E-2</c:v>
                </c:pt>
                <c:pt idx="1">
                  <c:v>6.0852540283719947E-2</c:v>
                </c:pt>
                <c:pt idx="2">
                  <c:v>5.435488144991911E-2</c:v>
                </c:pt>
                <c:pt idx="3">
                  <c:v>4.9294124324676079E-2</c:v>
                </c:pt>
                <c:pt idx="4">
                  <c:v>4.5604154061099814E-2</c:v>
                </c:pt>
                <c:pt idx="5">
                  <c:v>4.3230003848299205E-2</c:v>
                </c:pt>
                <c:pt idx="6">
                  <c:v>4.2849251484285596E-2</c:v>
                </c:pt>
                <c:pt idx="7">
                  <c:v>4.0286789756476954E-2</c:v>
                </c:pt>
                <c:pt idx="8">
                  <c:v>3.1588729670117006E-2</c:v>
                </c:pt>
                <c:pt idx="9">
                  <c:v>3.027495709716271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Sport Lotion FPS30 237ml (2.0%)</c:v>
                </c:pt>
                <c:pt idx="4">
                  <c:v>Equate Ultra Spray FPS50 156g (1.7%)</c:v>
                </c:pt>
                <c:pt idx="5">
                  <c:v>Nivea Sun Protection Sensitive Skin Gel FPS50+ 200ml (5.1%)</c:v>
                </c:pt>
                <c:pt idx="6">
                  <c:v>Hawaiian Tropic Ozono Lotion FPS50+ 240ml (4.4%)</c:v>
                </c:pt>
                <c:pt idx="7">
                  <c:v>Equate Kids Lotion FPS50 237ml (1.4%)</c:v>
                </c:pt>
                <c:pt idx="8">
                  <c:v>Nivea Sun Protect &amp; Refresh Sport Spray FPS50 200ml (2.3%)</c:v>
                </c:pt>
                <c:pt idx="9">
                  <c:v>Banana Boat Aqua Protect Sport Lotion FPS50+ 236ml (3.1%)</c:v>
                </c:pt>
              </c:strCache>
            </c:strRef>
          </c:cat>
          <c:val>
            <c:numRef>
              <c:f>Sheet1!$B$2:$B$11</c:f>
              <c:numCache>
                <c:formatCode>General</c:formatCode>
                <c:ptCount val="10"/>
                <c:pt idx="0">
                  <c:v>6.8629645155214677E-2</c:v>
                </c:pt>
                <c:pt idx="1">
                  <c:v>6.2306657734757728E-2</c:v>
                </c:pt>
                <c:pt idx="2">
                  <c:v>4.5246379636805591E-2</c:v>
                </c:pt>
                <c:pt idx="3">
                  <c:v>3.7368438109468854E-2</c:v>
                </c:pt>
                <c:pt idx="4">
                  <c:v>3.6892439447452081E-2</c:v>
                </c:pt>
                <c:pt idx="5">
                  <c:v>3.3130879340876551E-2</c:v>
                </c:pt>
                <c:pt idx="6">
                  <c:v>3.0172363554109571E-2</c:v>
                </c:pt>
                <c:pt idx="7">
                  <c:v>2.3063775450338376E-2</c:v>
                </c:pt>
                <c:pt idx="8">
                  <c:v>2.2840980254524738E-2</c:v>
                </c:pt>
                <c:pt idx="9">
                  <c:v>2.240161286632226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20.64925771651487</c:v>
                </c:pt>
                <c:pt idx="1">
                  <c:v>117.12341609723396</c:v>
                </c:pt>
                <c:pt idx="2">
                  <c:v>115.08774646025979</c:v>
                </c:pt>
                <c:pt idx="3">
                  <c:v>113.14823090400567</c:v>
                </c:pt>
                <c:pt idx="4">
                  <c:v>111.29643148062689</c:v>
                </c:pt>
                <c:pt idx="5">
                  <c:v>109.38065073707102</c:v>
                </c:pt>
                <c:pt idx="6">
                  <c:v>107.58517639046643</c:v>
                </c:pt>
                <c:pt idx="7">
                  <c:v>105.89640220931469</c:v>
                </c:pt>
                <c:pt idx="8">
                  <c:v>104.30273837622998</c:v>
                </c:pt>
                <c:pt idx="9">
                  <c:v>102.79426959100064</c:v>
                </c:pt>
                <c:pt idx="10">
                  <c:v>101.36247522486779</c:v>
                </c:pt>
                <c:pt idx="11">
                  <c:v>100</c:v>
                </c:pt>
                <c:pt idx="12">
                  <c:v>98.131582638920221</c:v>
                </c:pt>
                <c:pt idx="13">
                  <c:v>96.358577907567096</c:v>
                </c:pt>
                <c:pt idx="14">
                  <c:v>94.673073440490967</c:v>
                </c:pt>
                <c:pt idx="15">
                  <c:v>93.068006664685882</c:v>
                </c:pt>
                <c:pt idx="16">
                  <c:v>91.53705795005493</c:v>
                </c:pt>
                <c:pt idx="17">
                  <c:v>90.074558658684779</c:v>
                </c:pt>
                <c:pt idx="18">
                  <c:v>88.675411868502351</c:v>
                </c:pt>
                <c:pt idx="19">
                  <c:v>87.335023892319242</c:v>
                </c:pt>
                <c:pt idx="20">
                  <c:v>86.04924500479197</c:v>
                </c:pt>
                <c:pt idx="21">
                  <c:v>84.802261300971239</c:v>
                </c:pt>
                <c:pt idx="22">
                  <c:v>83.581670067522694</c:v>
                </c:pt>
                <c:pt idx="23">
                  <c:v>82.386658179367259</c:v>
                </c:pt>
                <c:pt idx="24">
                  <c:v>81.216448552150496</c:v>
                </c:pt>
                <c:pt idx="25">
                  <c:v>80.070297965387383</c:v>
                </c:pt>
                <c:pt idx="26">
                  <c:v>78.947495050139409</c:v>
                </c:pt>
                <c:pt idx="27">
                  <c:v>77.8473584269571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3.47222463118079</c:v>
                </c:pt>
                <c:pt idx="1">
                  <c:v>101.96419654940574</c:v>
                </c:pt>
                <c:pt idx="2">
                  <c:v>101.68112197364141</c:v>
                </c:pt>
                <c:pt idx="3">
                  <c:v>101.43156516447259</c:v>
                </c:pt>
                <c:pt idx="4">
                  <c:v>101.21158243345005</c:v>
                </c:pt>
                <c:pt idx="5">
                  <c:v>100.8853422605188</c:v>
                </c:pt>
                <c:pt idx="6">
                  <c:v>100.62200873887141</c:v>
                </c:pt>
                <c:pt idx="7">
                  <c:v>100.41334987004515</c:v>
                </c:pt>
                <c:pt idx="8">
                  <c:v>100.25236789444354</c:v>
                </c:pt>
                <c:pt idx="9">
                  <c:v>100.13309659946587</c:v>
                </c:pt>
                <c:pt idx="10">
                  <c:v>100.05043336035611</c:v>
                </c:pt>
                <c:pt idx="11">
                  <c:v>100</c:v>
                </c:pt>
                <c:pt idx="12">
                  <c:v>99.40063910061059</c:v>
                </c:pt>
                <c:pt idx="13">
                  <c:v>98.850877368761346</c:v>
                </c:pt>
                <c:pt idx="14">
                  <c:v>98.346189696109917</c:v>
                </c:pt>
                <c:pt idx="15">
                  <c:v>97.882536587931085</c:v>
                </c:pt>
                <c:pt idx="16">
                  <c:v>97.456305158136843</c:v>
                </c:pt>
                <c:pt idx="17">
                  <c:v>97.064257924137692</c:v>
                </c:pt>
                <c:pt idx="18">
                  <c:v>96.703488317382536</c:v>
                </c:pt>
                <c:pt idx="19">
                  <c:v>96.371381977948559</c:v>
                </c:pt>
                <c:pt idx="20">
                  <c:v>96.065583033768405</c:v>
                </c:pt>
                <c:pt idx="21">
                  <c:v>95.770393057943664</c:v>
                </c:pt>
                <c:pt idx="22">
                  <c:v>95.473102092044869</c:v>
                </c:pt>
                <c:pt idx="23">
                  <c:v>95.173794922337649</c:v>
                </c:pt>
                <c:pt idx="24">
                  <c:v>94.872556340857415</c:v>
                </c:pt>
                <c:pt idx="25">
                  <c:v>94.569470907280206</c:v>
                </c:pt>
                <c:pt idx="26">
                  <c:v>94.264622738206626</c:v>
                </c:pt>
                <c:pt idx="27">
                  <c:v>93.9580953215333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87.014970260327829</c:v>
                </c:pt>
                <c:pt idx="1">
                  <c:v>87.440359310645391</c:v>
                </c:pt>
                <c:pt idx="2">
                  <c:v>88.837312476111663</c:v>
                </c:pt>
                <c:pt idx="3">
                  <c:v>90.207743167975948</c:v>
                </c:pt>
                <c:pt idx="4">
                  <c:v>91.552020976675621</c:v>
                </c:pt>
                <c:pt idx="5">
                  <c:v>92.748184700627462</c:v>
                </c:pt>
                <c:pt idx="6">
                  <c:v>93.952305156834541</c:v>
                </c:pt>
                <c:pt idx="7">
                  <c:v>95.161302346226748</c:v>
                </c:pt>
                <c:pt idx="8">
                  <c:v>96.372580062759937</c:v>
                </c:pt>
                <c:pt idx="9">
                  <c:v>97.583956840094515</c:v>
                </c:pt>
                <c:pt idx="10">
                  <c:v>98.793605387916401</c:v>
                </c:pt>
                <c:pt idx="11">
                  <c:v>100</c:v>
                </c:pt>
                <c:pt idx="12">
                  <c:v>100.61857067008447</c:v>
                </c:pt>
                <c:pt idx="13">
                  <c:v>101.24268603079803</c:v>
                </c:pt>
                <c:pt idx="14">
                  <c:v>101.87108637949711</c:v>
                </c:pt>
                <c:pt idx="15">
                  <c:v>102.50264584750846</c:v>
                </c:pt>
                <c:pt idx="16">
                  <c:v>103.13635969409323</c:v>
                </c:pt>
                <c:pt idx="17">
                  <c:v>103.77133251715726</c:v>
                </c:pt>
                <c:pt idx="18">
                  <c:v>104.40676740476169</c:v>
                </c:pt>
                <c:pt idx="19">
                  <c:v>105.04195601596318</c:v>
                </c:pt>
                <c:pt idx="20">
                  <c:v>105.67626955656795</c:v>
                </c:pt>
                <c:pt idx="21">
                  <c:v>106.29403828037658</c:v>
                </c:pt>
                <c:pt idx="22">
                  <c:v>106.88235148343863</c:v>
                </c:pt>
                <c:pt idx="23">
                  <c:v>107.44215537728243</c:v>
                </c:pt>
                <c:pt idx="24">
                  <c:v>107.97436165887132</c:v>
                </c:pt>
                <c:pt idx="25">
                  <c:v>108.47984912835511</c:v>
                </c:pt>
                <c:pt idx="26">
                  <c:v>108.9594652028895</c:v>
                </c:pt>
                <c:pt idx="27">
                  <c:v>109.414027335656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43118187243536266</c:v>
                </c:pt>
                <c:pt idx="1">
                  <c:v>0.43967169523483457</c:v>
                </c:pt>
                <c:pt idx="2">
                  <c:v>0.44791181736373431</c:v>
                </c:pt>
                <c:pt idx="3">
                  <c:v>0.45591309537295555</c:v>
                </c:pt>
                <c:pt idx="4">
                  <c:v>0.46368576543905604</c:v>
                </c:pt>
                <c:pt idx="5">
                  <c:v>0.47123948705259044</c:v>
                </c:pt>
                <c:pt idx="6">
                  <c:v>0.47858338306574899</c:v>
                </c:pt>
                <c:pt idx="7">
                  <c:v>0.48572607644840982</c:v>
                </c:pt>
                <c:pt idx="8">
                  <c:v>0.49267572406397192</c:v>
                </c:pt>
                <c:pt idx="9">
                  <c:v>0.49944004774311912</c:v>
                </c:pt>
                <c:pt idx="10">
                  <c:v>0.50602636290439373</c:v>
                </c:pt>
                <c:pt idx="11">
                  <c:v>0.51244160494459645</c:v>
                </c:pt>
                <c:pt idx="12">
                  <c:v>0.51869235359915289</c:v>
                </c:pt>
                <c:pt idx="13">
                  <c:v>0.52478485545232834</c:v>
                </c:pt>
                <c:pt idx="14">
                  <c:v>0.53072504475917426</c:v>
                </c:pt>
                <c:pt idx="15">
                  <c:v>0.53651856272511023</c:v>
                </c:pt>
                <c:pt idx="16">
                  <c:v>0.54217077537480396</c:v>
                </c:pt>
                <c:pt idx="17">
                  <c:v>0.54768679012932453</c:v>
                </c:pt>
                <c:pt idx="18">
                  <c:v>0.55307147119921352</c:v>
                </c:pt>
                <c:pt idx="19">
                  <c:v>0.55832945389098732</c:v>
                </c:pt>
                <c:pt idx="20">
                  <c:v>0.56346515791551066</c:v>
                </c:pt>
                <c:pt idx="21">
                  <c:v>0.56848279977855087</c:v>
                </c:pt>
                <c:pt idx="22">
                  <c:v>0.57338640432652199</c:v>
                </c:pt>
                <c:pt idx="23">
                  <c:v>0.57817981551386433</c:v>
                </c:pt>
                <c:pt idx="24">
                  <c:v>0.58286670645259908</c:v>
                </c:pt>
                <c:pt idx="25">
                  <c:v>0.58745058879927392</c:v>
                </c:pt>
                <c:pt idx="26">
                  <c:v>0.59193482152971655</c:v>
                </c:pt>
                <c:pt idx="27">
                  <c:v>0.596322619147676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Nivea Sun Protection Sensitive Skin Gel FPS50+ 200ml (5.1%)</c:v>
                </c:pt>
                <c:pt idx="5">
                  <c:v>Banana Boat Aqua Protect Cream FPS50+ 236ml (2.7%)</c:v>
                </c:pt>
                <c:pt idx="6">
                  <c:v>Banana Boat Aqua Protect Kids Cream FPS50+ 236ml (1.9%)</c:v>
                </c:pt>
                <c:pt idx="7">
                  <c:v>Hawaiian Tropic Sheer Touch Lotion FPS50+ 240ml (4.4%)</c:v>
                </c:pt>
                <c:pt idx="8">
                  <c:v>Hawaiian Tropic Island Sport Lotion FPS50 240ml (3.6%)</c:v>
                </c:pt>
                <c:pt idx="9">
                  <c:v>Nivea Sun Protection &amp; Hydration Lotion FPS50+ 125ml (4.5%)</c:v>
                </c:pt>
              </c:strCache>
            </c:strRef>
          </c:cat>
          <c:val>
            <c:numRef>
              <c:f>Sheet1!$B$2:$B$11</c:f>
              <c:numCache>
                <c:formatCode>General</c:formatCode>
                <c:ptCount val="10"/>
                <c:pt idx="0">
                  <c:v>0.10449784161697856</c:v>
                </c:pt>
                <c:pt idx="1">
                  <c:v>7.1314258450191778E-2</c:v>
                </c:pt>
                <c:pt idx="2">
                  <c:v>6.6428271773166417E-2</c:v>
                </c:pt>
                <c:pt idx="3">
                  <c:v>5.1035861641843656E-2</c:v>
                </c:pt>
                <c:pt idx="4">
                  <c:v>5.0071732443927874E-2</c:v>
                </c:pt>
                <c:pt idx="5">
                  <c:v>4.9711772666455455E-2</c:v>
                </c:pt>
                <c:pt idx="6">
                  <c:v>4.4612320786036296E-2</c:v>
                </c:pt>
                <c:pt idx="7">
                  <c:v>4.4305875914003021E-2</c:v>
                </c:pt>
                <c:pt idx="8">
                  <c:v>4.1452906129177715E-2</c:v>
                </c:pt>
                <c:pt idx="9">
                  <c:v>3.971175294115722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Banana Boat Aqua Protect Sport Lotion FPS50+ 236ml (3.1%)</c:v>
                </c:pt>
                <c:pt idx="4">
                  <c:v>Hawaiian Tropic Sheer Touch Lotion FPS50+ 240ml (4.4%)</c:v>
                </c:pt>
                <c:pt idx="5">
                  <c:v>Nivea Sun Protection Sensitive Skin Gel FPS50+ 200ml (5.1%)</c:v>
                </c:pt>
                <c:pt idx="6">
                  <c:v>Hawaiian Tropic Island Sport Lotion FPS50 240ml (3.6%)</c:v>
                </c:pt>
                <c:pt idx="7">
                  <c:v>Banana Boat Aqua Protect Cream FPS50+ 236ml (2.7%)</c:v>
                </c:pt>
                <c:pt idx="8">
                  <c:v>Nivea Sun Protection &amp; Hydration Lotion FPS50+ 125ml (4.5%)</c:v>
                </c:pt>
                <c:pt idx="9">
                  <c:v>Banana Boat Advanced Protection Lotion FPS50+ 240ml (2.8%)</c:v>
                </c:pt>
              </c:strCache>
            </c:strRef>
          </c:cat>
          <c:val>
            <c:numRef>
              <c:f>Sheet1!$B$2:$B$11</c:f>
              <c:numCache>
                <c:formatCode>General</c:formatCode>
                <c:ptCount val="10"/>
                <c:pt idx="0">
                  <c:v>8.5419725672622265E-2</c:v>
                </c:pt>
                <c:pt idx="1">
                  <c:v>6.5162643634496531E-2</c:v>
                </c:pt>
                <c:pt idx="2">
                  <c:v>5.1570781315954224E-2</c:v>
                </c:pt>
                <c:pt idx="3">
                  <c:v>4.4140916846387442E-2</c:v>
                </c:pt>
                <c:pt idx="4">
                  <c:v>4.2951067972387499E-2</c:v>
                </c:pt>
                <c:pt idx="5">
                  <c:v>4.2826640088599849E-2</c:v>
                </c:pt>
                <c:pt idx="6">
                  <c:v>4.0263105327416636E-2</c:v>
                </c:pt>
                <c:pt idx="7">
                  <c:v>3.7568630896837846E-2</c:v>
                </c:pt>
                <c:pt idx="8">
                  <c:v>3.6857424471987345E-2</c:v>
                </c:pt>
                <c:pt idx="9">
                  <c:v>3.10099910631426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598390476420755</c:v>
                </c:pt>
                <c:pt idx="1">
                  <c:v>9.8976084294972788E-2</c:v>
                </c:pt>
                <c:pt idx="2">
                  <c:v>0</c:v>
                </c:pt>
                <c:pt idx="3">
                  <c:v>-6.9046070267834284E-2</c:v>
                </c:pt>
                <c:pt idx="4">
                  <c:v>-0.1414353222249059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59839047642078</c:v>
                </c:pt>
                <c:pt idx="1">
                  <c:v>115.01389266501474</c:v>
                </c:pt>
                <c:pt idx="2">
                  <c:v>112.29970237968733</c:v>
                </c:pt>
                <c:pt idx="3">
                  <c:v>109.8976084294973</c:v>
                </c:pt>
                <c:pt idx="4">
                  <c:v>107.74526473467228</c:v>
                </c:pt>
                <c:pt idx="5">
                  <c:v>105.7953566777565</c:v>
                </c:pt>
                <c:pt idx="6">
                  <c:v>104.51025382961203</c:v>
                </c:pt>
                <c:pt idx="7">
                  <c:v>103.27139191411328</c:v>
                </c:pt>
                <c:pt idx="8">
                  <c:v>102.0753714963361</c:v>
                </c:pt>
                <c:pt idx="9">
                  <c:v>101.01222129088295</c:v>
                </c:pt>
                <c:pt idx="10">
                  <c:v>100</c:v>
                </c:pt>
                <c:pt idx="11">
                  <c:v>99.033717328371097</c:v>
                </c:pt>
                <c:pt idx="12">
                  <c:v>98.109066035131292</c:v>
                </c:pt>
                <c:pt idx="13">
                  <c:v>97.222311857265879</c:v>
                </c:pt>
                <c:pt idx="14">
                  <c:v>96.370202739365752</c:v>
                </c:pt>
                <c:pt idx="15">
                  <c:v>95.549893836625472</c:v>
                </c:pt>
                <c:pt idx="16">
                  <c:v>94.296981008132136</c:v>
                </c:pt>
                <c:pt idx="17">
                  <c:v>93.09539297321659</c:v>
                </c:pt>
                <c:pt idx="18">
                  <c:v>91.941510197191207</c:v>
                </c:pt>
                <c:pt idx="19">
                  <c:v>90.832060978888052</c:v>
                </c:pt>
                <c:pt idx="20">
                  <c:v>89.764080863557496</c:v>
                </c:pt>
                <c:pt idx="21">
                  <c:v>88.734877431075333</c:v>
                </c:pt>
                <c:pt idx="22">
                  <c:v>87.741999685199758</c:v>
                </c:pt>
                <c:pt idx="23">
                  <c:v>86.783211387327455</c:v>
                </c:pt>
                <c:pt idx="24">
                  <c:v>85.85646777750939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48756320655372</c:v>
                </c:pt>
                <c:pt idx="1">
                  <c:v>100.71084655104549</c:v>
                </c:pt>
                <c:pt idx="2">
                  <c:v>99.885619950045239</c:v>
                </c:pt>
                <c:pt idx="3">
                  <c:v>99.267407395487623</c:v>
                </c:pt>
                <c:pt idx="4">
                  <c:v>98.811930958256454</c:v>
                </c:pt>
                <c:pt idx="5">
                  <c:v>98.485470691997875</c:v>
                </c:pt>
                <c:pt idx="6">
                  <c:v>98.733062110838816</c:v>
                </c:pt>
                <c:pt idx="7">
                  <c:v>98.989416348015396</c:v>
                </c:pt>
                <c:pt idx="8">
                  <c:v>99.25314507715359</c:v>
                </c:pt>
                <c:pt idx="9">
                  <c:v>99.615832462192699</c:v>
                </c:pt>
                <c:pt idx="10">
                  <c:v>100</c:v>
                </c:pt>
                <c:pt idx="11">
                  <c:v>100.40269952366133</c:v>
                </c:pt>
                <c:pt idx="12">
                  <c:v>100.82140930251194</c:v>
                </c:pt>
                <c:pt idx="13">
                  <c:v>101.25396651804444</c:v>
                </c:pt>
                <c:pt idx="14">
                  <c:v>101.69851100394136</c:v>
                </c:pt>
                <c:pt idx="15">
                  <c:v>102.15343833657926</c:v>
                </c:pt>
                <c:pt idx="16">
                  <c:v>102.11515142468801</c:v>
                </c:pt>
                <c:pt idx="17">
                  <c:v>102.0985944607021</c:v>
                </c:pt>
                <c:pt idx="18">
                  <c:v>102.10186748998322</c:v>
                </c:pt>
                <c:pt idx="19">
                  <c:v>102.12326257133313</c:v>
                </c:pt>
                <c:pt idx="20">
                  <c:v>102.16124147656407</c:v>
                </c:pt>
                <c:pt idx="21">
                  <c:v>102.21441623881915</c:v>
                </c:pt>
                <c:pt idx="22">
                  <c:v>102.28153216325491</c:v>
                </c:pt>
                <c:pt idx="23">
                  <c:v>102.36145296764153</c:v>
                </c:pt>
                <c:pt idx="24">
                  <c:v>102.453147766927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1.626199841941798</c:v>
                </c:pt>
                <c:pt idx="1">
                  <c:v>92.844341632982605</c:v>
                </c:pt>
                <c:pt idx="2">
                  <c:v>93.05847913767073</c:v>
                </c:pt>
                <c:pt idx="3">
                  <c:v>93.421662134416977</c:v>
                </c:pt>
                <c:pt idx="4">
                  <c:v>93.899608993168243</c:v>
                </c:pt>
                <c:pt idx="5">
                  <c:v>94.466118750866286</c:v>
                </c:pt>
                <c:pt idx="6">
                  <c:v>95.55695706032725</c:v>
                </c:pt>
                <c:pt idx="7">
                  <c:v>96.636018452876471</c:v>
                </c:pt>
                <c:pt idx="8">
                  <c:v>97.703020170256252</c:v>
                </c:pt>
                <c:pt idx="9">
                  <c:v>98.84881540150387</c:v>
                </c:pt>
                <c:pt idx="10">
                  <c:v>100</c:v>
                </c:pt>
                <c:pt idx="11">
                  <c:v>101.15474906668263</c:v>
                </c:pt>
                <c:pt idx="12">
                  <c:v>102.31152250127849</c:v>
                </c:pt>
                <c:pt idx="13">
                  <c:v>103.46902099888644</c:v>
                </c:pt>
                <c:pt idx="14">
                  <c:v>104.6261488616323</c:v>
                </c:pt>
                <c:pt idx="15">
                  <c:v>105.78198260836098</c:v>
                </c:pt>
                <c:pt idx="16">
                  <c:v>106.41448370968325</c:v>
                </c:pt>
                <c:pt idx="17">
                  <c:v>107.05233632135243</c:v>
                </c:pt>
                <c:pt idx="18">
                  <c:v>107.69459845499492</c:v>
                </c:pt>
                <c:pt idx="19">
                  <c:v>108.34043292036432</c:v>
                </c:pt>
                <c:pt idx="20">
                  <c:v>108.98909529381109</c:v>
                </c:pt>
                <c:pt idx="21">
                  <c:v>109.63992331284027</c:v>
                </c:pt>
                <c:pt idx="22">
                  <c:v>110.29232752937996</c:v>
                </c:pt>
                <c:pt idx="23">
                  <c:v>110.94578307220284</c:v>
                </c:pt>
                <c:pt idx="24">
                  <c:v>111.59982238554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61</c:v>
                </c:pt>
                <c:pt idx="1">
                  <c:v>0.59827451430912437</c:v>
                </c:pt>
                <c:pt idx="2">
                  <c:v>0.6045514750230444</c:v>
                </c:pt>
                <c:pt idx="3">
                  <c:v>0.61063529848422826</c:v>
                </c:pt>
                <c:pt idx="4">
                  <c:v>0.61653476365870974</c:v>
                </c:pt>
                <c:pt idx="5">
                  <c:v>0.62225812539514669</c:v>
                </c:pt>
                <c:pt idx="6">
                  <c:v>0.62781315296286522</c:v>
                </c:pt>
                <c:pt idx="7">
                  <c:v>0.63320716523876575</c:v>
                </c:pt>
                <c:pt idx="8">
                  <c:v>0.63844706287821196</c:v>
                </c:pt>
                <c:pt idx="9">
                  <c:v>0.64353935776725113</c:v>
                </c:pt>
                <c:pt idx="10">
                  <c:v>0.64849020002048385</c:v>
                </c:pt>
                <c:pt idx="11">
                  <c:v>0.65330540275992932</c:v>
                </c:pt>
                <c:pt idx="12">
                  <c:v>0.65799046488479518</c:v>
                </c:pt>
                <c:pt idx="13">
                  <c:v>0.66255059201966437</c:v>
                </c:pt>
                <c:pt idx="14">
                  <c:v>0.66699071580887959</c:v>
                </c:pt>
                <c:pt idx="15">
                  <c:v>0.6713155117074654</c:v>
                </c:pt>
                <c:pt idx="16">
                  <c:v>0.67552941540352351</c:v>
                </c:pt>
                <c:pt idx="17">
                  <c:v>0.6796366379933525</c:v>
                </c:pt>
                <c:pt idx="18">
                  <c:v>0.68364118001843543</c:v>
                </c:pt>
                <c:pt idx="19">
                  <c:v>0.68754684446265235</c:v>
                </c:pt>
                <c:pt idx="20">
                  <c:v>0.6913572487984736</c:v>
                </c:pt>
                <c:pt idx="21">
                  <c:v>0.69507583616234747</c:v>
                </c:pt>
                <c:pt idx="22">
                  <c:v>0.69870588573184333</c:v>
                </c:pt>
                <c:pt idx="23">
                  <c:v>0.70225052237029228</c:v>
                </c:pt>
                <c:pt idx="24">
                  <c:v>0.705712725598544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ana Boat Aqua Protect Sport Lotion FPS50+ 236ml (3.1%)</c:v>
                </c:pt>
                <c:pt idx="1">
                  <c:v>Nivea Sun Protection &amp; Hydration Cream FPS50+ 200ml (9.5%)</c:v>
                </c:pt>
                <c:pt idx="2">
                  <c:v>Nivea Sun Protect &amp; Refresh Sport Lotion FPS50 200ml (5.8%)</c:v>
                </c:pt>
                <c:pt idx="3">
                  <c:v>Hawaiian Tropic Ozono Lotion FPS50+ 240ml (4.4%)</c:v>
                </c:pt>
                <c:pt idx="4">
                  <c:v>Banana Boat Aqua Protect Cream FPS50+ 236ml (2.7%)</c:v>
                </c:pt>
                <c:pt idx="5">
                  <c:v>Banana Boat Aqua Protect Kids Cream FPS50+ 236ml (1.9%)</c:v>
                </c:pt>
                <c:pt idx="6">
                  <c:v>Hawaiian Tropic Sheer Touch Lotion FPS50+ 240ml (4.4%)</c:v>
                </c:pt>
                <c:pt idx="7">
                  <c:v>Nivea Sun Protection &amp; Hydration Lotion FPS50+ 125ml (4.5%)</c:v>
                </c:pt>
                <c:pt idx="8">
                  <c:v>Hawaiian Tropic Island Sport Lotion FPS50 240ml (3.6%)</c:v>
                </c:pt>
                <c:pt idx="9">
                  <c:v>Nivea Sun Protection Sensitive Skin Gel FPS50+ 200ml (5.1%)</c:v>
                </c:pt>
              </c:strCache>
            </c:strRef>
          </c:cat>
          <c:val>
            <c:numRef>
              <c:f>Sheet1!$B$2:$B$11</c:f>
              <c:numCache>
                <c:formatCode>General</c:formatCode>
                <c:ptCount val="10"/>
                <c:pt idx="0">
                  <c:v>7.3697542359914492E-2</c:v>
                </c:pt>
                <c:pt idx="1">
                  <c:v>7.0665773437301044E-2</c:v>
                </c:pt>
                <c:pt idx="2">
                  <c:v>6.1789878480062531E-2</c:v>
                </c:pt>
                <c:pt idx="3">
                  <c:v>4.6846004916231594E-2</c:v>
                </c:pt>
                <c:pt idx="4">
                  <c:v>4.5732473014654641E-2</c:v>
                </c:pt>
                <c:pt idx="5">
                  <c:v>4.2788721742429855E-2</c:v>
                </c:pt>
                <c:pt idx="6">
                  <c:v>3.8477448651205122E-2</c:v>
                </c:pt>
                <c:pt idx="7">
                  <c:v>3.6480505622462585E-2</c:v>
                </c:pt>
                <c:pt idx="8">
                  <c:v>3.6407728006889281E-2</c:v>
                </c:pt>
                <c:pt idx="9">
                  <c:v>3.617779467252275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1</c:f>
              <c:numCache>
                <c:formatCode>General</c:formatCode>
                <c:ptCount val="10"/>
                <c:pt idx="0">
                  <c:v>-2.0341291024416446</c:v>
                </c:pt>
                <c:pt idx="1">
                  <c:v>-2.5416915888794187</c:v>
                </c:pt>
                <c:pt idx="2">
                  <c:v>-0.52889209905127044</c:v>
                </c:pt>
                <c:pt idx="3">
                  <c:v>-2.0214777175494323</c:v>
                </c:pt>
                <c:pt idx="4">
                  <c:v>-1.6937779197406579</c:v>
                </c:pt>
                <c:pt idx="5">
                  <c:v>-0.66113498916352775</c:v>
                </c:pt>
                <c:pt idx="6">
                  <c:v>-0.99216527602380722</c:v>
                </c:pt>
                <c:pt idx="7">
                  <c:v>-1.6798557570423183</c:v>
                </c:pt>
                <c:pt idx="8">
                  <c:v>-0.99817546226277831</c:v>
                </c:pt>
                <c:pt idx="9">
                  <c:v>-2.3580397576558831</c:v>
                </c:pt>
              </c:numCache>
            </c:numRef>
          </c:xVal>
          <c:yVal>
            <c:numRef>
              <c:f>Sheet1!$B$2:$B$11</c:f>
              <c:numCache>
                <c:formatCode>General</c:formatCode>
                <c:ptCount val="10"/>
                <c:pt idx="0">
                  <c:v>-1.4654958007620229</c:v>
                </c:pt>
                <c:pt idx="1">
                  <c:v>-1.4349872907702883</c:v>
                </c:pt>
                <c:pt idx="2">
                  <c:v>-2.1760565861746852</c:v>
                </c:pt>
                <c:pt idx="3">
                  <c:v>-1.2558012946190356</c:v>
                </c:pt>
                <c:pt idx="4">
                  <c:v>-1.9865741602969371</c:v>
                </c:pt>
                <c:pt idx="5">
                  <c:v>-0.5731599110845319</c:v>
                </c:pt>
                <c:pt idx="6">
                  <c:v>-0.99226906458635877</c:v>
                </c:pt>
                <c:pt idx="7">
                  <c:v>-1.0283080530150028</c:v>
                </c:pt>
                <c:pt idx="8">
                  <c:v>-0.65216642171711248</c:v>
                </c:pt>
                <c:pt idx="9">
                  <c:v>-0.6795730753299175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eutrogena (2.7%)</c:v>
                </c:pt>
                <c:pt idx="6">
                  <c:v>Nuvel (2.3%)</c:v>
                </c:pt>
                <c:pt idx="7">
                  <c:v>La Roche-Posay (1.9%)</c:v>
                </c:pt>
                <c:pt idx="8">
                  <c:v>Garnier (1.7%)</c:v>
                </c:pt>
                <c:pt idx="9">
                  <c:v>L'Oreal Paris (0.9%)</c:v>
                </c:pt>
              </c:strCache>
            </c:strRef>
          </c:cat>
          <c:val>
            <c:numRef>
              <c:f>Sheet1!$B$2:$B$11</c:f>
              <c:numCache>
                <c:formatCode>General</c:formatCode>
                <c:ptCount val="10"/>
                <c:pt idx="0">
                  <c:v>0.34406837594955808</c:v>
                </c:pt>
                <c:pt idx="1">
                  <c:v>0.21388377194238903</c:v>
                </c:pt>
                <c:pt idx="2">
                  <c:v>0.14924290828963879</c:v>
                </c:pt>
                <c:pt idx="3">
                  <c:v>9.0294677934418269E-2</c:v>
                </c:pt>
                <c:pt idx="4">
                  <c:v>7.7185445444257691E-2</c:v>
                </c:pt>
                <c:pt idx="5">
                  <c:v>3.2725489973964496E-2</c:v>
                </c:pt>
                <c:pt idx="6">
                  <c:v>2.1319849505308588E-2</c:v>
                </c:pt>
                <c:pt idx="7">
                  <c:v>1.3410559509189034E-2</c:v>
                </c:pt>
                <c:pt idx="8">
                  <c:v>1.2353580096403471E-2</c:v>
                </c:pt>
                <c:pt idx="9">
                  <c:v>1.180678106350698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Hawaiian Tropic Island Sport Lotion FPS50 240ml (3.6%)</c:v>
                </c:pt>
                <c:pt idx="6">
                  <c:v>Banana Boat Aqua Protect Cream FPS50+ 236ml (2.7%)</c:v>
                </c:pt>
                <c:pt idx="7">
                  <c:v>Nivea Sun Protection Sensitive Skin Gel FPS50+ 200ml (5.1%)</c:v>
                </c:pt>
                <c:pt idx="8">
                  <c:v>Banana Boat Aqua Protect Kids Cream FPS50+ 236ml (1.9%)</c:v>
                </c:pt>
                <c:pt idx="9">
                  <c:v>Banana Boat Advanced Protection Lotion FPS50+ 240ml (2.8%)</c:v>
                </c:pt>
              </c:strCache>
            </c:strRef>
          </c:cat>
          <c:val>
            <c:numRef>
              <c:f>Sheet1!$B$2:$B$11</c:f>
              <c:numCache>
                <c:formatCode>General</c:formatCode>
                <c:ptCount val="10"/>
                <c:pt idx="0">
                  <c:v>7.355948371259674E-2</c:v>
                </c:pt>
                <c:pt idx="1">
                  <c:v>6.0393393681974668E-2</c:v>
                </c:pt>
                <c:pt idx="2">
                  <c:v>5.9649942947451601E-2</c:v>
                </c:pt>
                <c:pt idx="3">
                  <c:v>5.2314528534042871E-2</c:v>
                </c:pt>
                <c:pt idx="4">
                  <c:v>4.5761928603668206E-2</c:v>
                </c:pt>
                <c:pt idx="5">
                  <c:v>4.3988799618344593E-2</c:v>
                </c:pt>
                <c:pt idx="6">
                  <c:v>4.0751967612788549E-2</c:v>
                </c:pt>
                <c:pt idx="7">
                  <c:v>3.7698357589267692E-2</c:v>
                </c:pt>
                <c:pt idx="8">
                  <c:v>3.5905972143676738E-2</c:v>
                </c:pt>
                <c:pt idx="9">
                  <c:v>3.334435867105092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Baby Lotion FPS50+ 177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300</c:v>
                </c:pt>
                <c:pt idx="3">
                  <c:v>330</c:v>
                </c:pt>
                <c:pt idx="4">
                  <c:v>360</c:v>
                </c:pt>
              </c:numCache>
            </c:numRef>
          </c:xVal>
          <c:yVal>
            <c:numRef>
              <c:f>Sheet1!$B$2:$B$6</c:f>
              <c:numCache>
                <c:formatCode>General</c:formatCode>
                <c:ptCount val="5"/>
                <c:pt idx="0">
                  <c:v>0.37356164241342715</c:v>
                </c:pt>
                <c:pt idx="1">
                  <c:v>0.24509545540527738</c:v>
                </c:pt>
                <c:pt idx="2">
                  <c:v>0</c:v>
                </c:pt>
                <c:pt idx="3">
                  <c:v>-0.11338975272250718</c:v>
                </c:pt>
                <c:pt idx="4">
                  <c:v>-0.187760127281708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0"/>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37.35616424134275</c:v>
                </c:pt>
                <c:pt idx="1">
                  <c:v>130.35484148736703</c:v>
                </c:pt>
                <c:pt idx="2">
                  <c:v>124.50954554052771</c:v>
                </c:pt>
                <c:pt idx="3">
                  <c:v>119.51114329730666</c:v>
                </c:pt>
                <c:pt idx="4">
                  <c:v>117.79608534208688</c:v>
                </c:pt>
                <c:pt idx="5">
                  <c:v>116.12901348816924</c:v>
                </c:pt>
                <c:pt idx="6">
                  <c:v>114.50752821872024</c:v>
                </c:pt>
                <c:pt idx="7">
                  <c:v>106.44715836779852</c:v>
                </c:pt>
                <c:pt idx="8">
                  <c:v>100</c:v>
                </c:pt>
                <c:pt idx="9">
                  <c:v>98.258949578170999</c:v>
                </c:pt>
                <c:pt idx="10">
                  <c:v>96.687916467153599</c:v>
                </c:pt>
                <c:pt idx="11">
                  <c:v>95.250759519644973</c:v>
                </c:pt>
                <c:pt idx="12">
                  <c:v>92.822763934548178</c:v>
                </c:pt>
                <c:pt idx="13">
                  <c:v>90.640912234735723</c:v>
                </c:pt>
                <c:pt idx="14">
                  <c:v>88.661024727749279</c:v>
                </c:pt>
                <c:pt idx="15">
                  <c:v>86.849146469988966</c:v>
                </c:pt>
                <c:pt idx="16">
                  <c:v>85.584351830461728</c:v>
                </c:pt>
                <c:pt idx="17">
                  <c:v>84.364798189936437</c:v>
                </c:pt>
                <c:pt idx="18">
                  <c:v>83.187469363455591</c:v>
                </c:pt>
                <c:pt idx="19">
                  <c:v>82.181035376115858</c:v>
                </c:pt>
                <c:pt idx="20">
                  <c:v>81.2239872718291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19.09684360901187</c:v>
                </c:pt>
                <c:pt idx="1">
                  <c:v>115.19207936798944</c:v>
                </c:pt>
                <c:pt idx="2">
                  <c:v>112.09563573922536</c:v>
                </c:pt>
                <c:pt idx="3">
                  <c:v>109.58162856134548</c:v>
                </c:pt>
                <c:pt idx="4">
                  <c:v>109.96794783725537</c:v>
                </c:pt>
                <c:pt idx="5">
                  <c:v>110.34276905274535</c:v>
                </c:pt>
                <c:pt idx="6">
                  <c:v>110.70617023873739</c:v>
                </c:pt>
                <c:pt idx="7">
                  <c:v>104.67994364745184</c:v>
                </c:pt>
                <c:pt idx="8">
                  <c:v>100</c:v>
                </c:pt>
                <c:pt idx="9">
                  <c:v>99.89269985352972</c:v>
                </c:pt>
                <c:pt idx="10">
                  <c:v>99.90318532665097</c:v>
                </c:pt>
                <c:pt idx="11">
                  <c:v>100.00198319426539</c:v>
                </c:pt>
                <c:pt idx="12">
                  <c:v>98.996671936977094</c:v>
                </c:pt>
                <c:pt idx="13">
                  <c:v>98.177194505390702</c:v>
                </c:pt>
                <c:pt idx="14">
                  <c:v>97.507245467482065</c:v>
                </c:pt>
                <c:pt idx="15">
                  <c:v>96.958994856674835</c:v>
                </c:pt>
                <c:pt idx="16">
                  <c:v>96.970066418648997</c:v>
                </c:pt>
                <c:pt idx="17">
                  <c:v>96.991075178831892</c:v>
                </c:pt>
                <c:pt idx="18">
                  <c:v>97.020760514283083</c:v>
                </c:pt>
                <c:pt idx="19">
                  <c:v>97.213826328164416</c:v>
                </c:pt>
                <c:pt idx="20">
                  <c:v>97.4326296789825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08.23689310686045</c:v>
                </c:pt>
                <c:pt idx="1">
                  <c:v>106.17421410389625</c:v>
                </c:pt>
                <c:pt idx="2">
                  <c:v>104.71268803079472</c:v>
                </c:pt>
                <c:pt idx="3">
                  <c:v>103.67604497605676</c:v>
                </c:pt>
                <c:pt idx="4">
                  <c:v>105.30980135693606</c:v>
                </c:pt>
                <c:pt idx="5">
                  <c:v>106.89683163901609</c:v>
                </c:pt>
                <c:pt idx="6">
                  <c:v>108.43867834300298</c:v>
                </c:pt>
                <c:pt idx="7">
                  <c:v>103.62633150217569</c:v>
                </c:pt>
                <c:pt idx="8">
                  <c:v>100</c:v>
                </c:pt>
                <c:pt idx="9">
                  <c:v>100.86279066710165</c:v>
                </c:pt>
                <c:pt idx="10">
                  <c:v>101.8123345640515</c:v>
                </c:pt>
                <c:pt idx="11">
                  <c:v>102.8231336124027</c:v>
                </c:pt>
                <c:pt idx="12">
                  <c:v>102.66189727592827</c:v>
                </c:pt>
                <c:pt idx="13">
                  <c:v>102.65073590108801</c:v>
                </c:pt>
                <c:pt idx="14">
                  <c:v>102.75801356167649</c:v>
                </c:pt>
                <c:pt idx="15">
                  <c:v>102.95953274641118</c:v>
                </c:pt>
                <c:pt idx="16">
                  <c:v>103.72808756729606</c:v>
                </c:pt>
                <c:pt idx="17">
                  <c:v>104.4856397047734</c:v>
                </c:pt>
                <c:pt idx="18">
                  <c:v>105.23197032165137</c:v>
                </c:pt>
                <c:pt idx="19">
                  <c:v>106.1366132973163</c:v>
                </c:pt>
                <c:pt idx="20">
                  <c:v>107.05300617013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57184912465164972</c:v>
                </c:pt>
                <c:pt idx="1">
                  <c:v>0.57992744305444865</c:v>
                </c:pt>
                <c:pt idx="2">
                  <c:v>0.58770656447936642</c:v>
                </c:pt>
                <c:pt idx="3">
                  <c:v>0.59520280876155951</c:v>
                </c:pt>
                <c:pt idx="4">
                  <c:v>0.60243133003367466</c:v>
                </c:pt>
                <c:pt idx="5">
                  <c:v>0.60940621898045244</c:v>
                </c:pt>
                <c:pt idx="6">
                  <c:v>0.61614059451527214</c:v>
                </c:pt>
                <c:pt idx="7">
                  <c:v>0.62264668613365726</c:v>
                </c:pt>
                <c:pt idx="8">
                  <c:v>0.62893590803142974</c:v>
                </c:pt>
                <c:pt idx="9">
                  <c:v>0.63501892593255371</c:v>
                </c:pt>
                <c:pt idx="10">
                  <c:v>0.64090571744977065</c:v>
                </c:pt>
                <c:pt idx="11">
                  <c:v>0.64660562669659982</c:v>
                </c:pt>
                <c:pt idx="12">
                  <c:v>0.65212741377946537</c:v>
                </c:pt>
                <c:pt idx="13">
                  <c:v>0.65747929972131969</c:v>
                </c:pt>
                <c:pt idx="14">
                  <c:v>0.66266900730129974</c:v>
                </c:pt>
                <c:pt idx="15">
                  <c:v>0.66770379823710113</c:v>
                </c:pt>
                <c:pt idx="16">
                  <c:v>0.67259050708655554</c:v>
                </c:pt>
                <c:pt idx="17">
                  <c:v>0.67733557220124319</c:v>
                </c:pt>
                <c:pt idx="18">
                  <c:v>0.68194506402693977</c:v>
                </c:pt>
                <c:pt idx="19">
                  <c:v>0.68642471101247582</c:v>
                </c:pt>
                <c:pt idx="20">
                  <c:v>0.690779923359524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Banana Boat Aqua Protect Sport Lotion FPS50+ 236ml (3.1%)</c:v>
                </c:pt>
                <c:pt idx="5">
                  <c:v>Banana Boat Advanced Protection Lotion FPS50+ 240ml (2.8%)</c:v>
                </c:pt>
                <c:pt idx="6">
                  <c:v>Nivea Sun Protection Sensitive Skin Gel FPS50+ 200ml (5.1%)</c:v>
                </c:pt>
                <c:pt idx="7">
                  <c:v>Hawaiian Tropic Island Sport Lotion FPS50 240ml (3.6%)</c:v>
                </c:pt>
                <c:pt idx="8">
                  <c:v>Banana Boat Aqua Protect Cream FPS50+ 236ml (2.7%)</c:v>
                </c:pt>
                <c:pt idx="9">
                  <c:v>Hawaiian Tropic Sheer Touch Lotion FPS50+ 240ml (4.4%)</c:v>
                </c:pt>
              </c:strCache>
            </c:strRef>
          </c:cat>
          <c:val>
            <c:numRef>
              <c:f>Sheet1!$B$2:$B$11</c:f>
              <c:numCache>
                <c:formatCode>General</c:formatCode>
                <c:ptCount val="10"/>
                <c:pt idx="0">
                  <c:v>7.3600170979022397E-2</c:v>
                </c:pt>
                <c:pt idx="1">
                  <c:v>4.9689745047384042E-2</c:v>
                </c:pt>
                <c:pt idx="2">
                  <c:v>4.7933302963907881E-2</c:v>
                </c:pt>
                <c:pt idx="3">
                  <c:v>4.7259038684151017E-2</c:v>
                </c:pt>
                <c:pt idx="4">
                  <c:v>4.5553735712182443E-2</c:v>
                </c:pt>
                <c:pt idx="5">
                  <c:v>4.398734395941345E-2</c:v>
                </c:pt>
                <c:pt idx="6">
                  <c:v>4.1479078379272706E-2</c:v>
                </c:pt>
                <c:pt idx="7">
                  <c:v>4.0960865860631357E-2</c:v>
                </c:pt>
                <c:pt idx="8">
                  <c:v>3.85486047736135E-2</c:v>
                </c:pt>
                <c:pt idx="9">
                  <c:v>3.623667421440696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 &amp; Refresh Sport Lotion FPS50 200ml (5.8%)</c:v>
                </c:pt>
                <c:pt idx="4">
                  <c:v>Hawaiian Tropic Ozono Lotion FPS50+ 240ml (4.4%)</c:v>
                </c:pt>
                <c:pt idx="5">
                  <c:v>Nivea Sun Protection Sensitive Skin Gel FPS50+ 200ml (5.1%)</c:v>
                </c:pt>
                <c:pt idx="6">
                  <c:v>Banana Boat Aqua Protect Cream FPS50+ 236ml (2.7%)</c:v>
                </c:pt>
                <c:pt idx="7">
                  <c:v>Banana Boat Advanced Protection Lotion FPS50+ 240ml (2.8%)</c:v>
                </c:pt>
                <c:pt idx="8">
                  <c:v>Equate Sport Lotion FPS30 237ml (2.0%)</c:v>
                </c:pt>
                <c:pt idx="9">
                  <c:v>Hawaiian Tropic Island Sport Lotion FPS50 240ml (3.6%)</c:v>
                </c:pt>
              </c:strCache>
            </c:strRef>
          </c:cat>
          <c:val>
            <c:numRef>
              <c:f>Sheet1!$B$2:$B$11</c:f>
              <c:numCache>
                <c:formatCode>General</c:formatCode>
                <c:ptCount val="10"/>
                <c:pt idx="0">
                  <c:v>7.1078999130587087E-2</c:v>
                </c:pt>
                <c:pt idx="1">
                  <c:v>5.4352890262947116E-2</c:v>
                </c:pt>
                <c:pt idx="2">
                  <c:v>5.3039465427929228E-2</c:v>
                </c:pt>
                <c:pt idx="3">
                  <c:v>5.2961078543273622E-2</c:v>
                </c:pt>
                <c:pt idx="4">
                  <c:v>4.3642842615745914E-2</c:v>
                </c:pt>
                <c:pt idx="5">
                  <c:v>3.7213400461853223E-2</c:v>
                </c:pt>
                <c:pt idx="6">
                  <c:v>3.6040931349411325E-2</c:v>
                </c:pt>
                <c:pt idx="7">
                  <c:v>3.4850771430596166E-2</c:v>
                </c:pt>
                <c:pt idx="8">
                  <c:v>3.4430763607398399E-2</c:v>
                </c:pt>
                <c:pt idx="9">
                  <c:v>2.976989714785538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Caribbean Beach (6.6%)</c:v>
                </c:pt>
                <c:pt idx="6">
                  <c:v>Garnier (1.7%)</c:v>
                </c:pt>
                <c:pt idx="7">
                  <c:v>La Roche-Posay (1.9%)</c:v>
                </c:pt>
                <c:pt idx="8">
                  <c:v>L'Oreal Paris (0.9%)</c:v>
                </c:pt>
                <c:pt idx="9">
                  <c:v>Eucerin (1.1%)</c:v>
                </c:pt>
              </c:strCache>
            </c:strRef>
          </c:cat>
          <c:val>
            <c:numRef>
              <c:f>Sheet1!$B$2:$B$11</c:f>
              <c:numCache>
                <c:formatCode>General</c:formatCode>
                <c:ptCount val="10"/>
                <c:pt idx="0">
                  <c:v>0.44078787316644252</c:v>
                </c:pt>
                <c:pt idx="1">
                  <c:v>0.15975851947848599</c:v>
                </c:pt>
                <c:pt idx="2">
                  <c:v>9.2430528831479092E-2</c:v>
                </c:pt>
                <c:pt idx="3">
                  <c:v>6.5822674009217097E-2</c:v>
                </c:pt>
                <c:pt idx="4">
                  <c:v>5.1289051276040734E-2</c:v>
                </c:pt>
                <c:pt idx="5">
                  <c:v>4.2317771853584728E-2</c:v>
                </c:pt>
                <c:pt idx="6">
                  <c:v>4.0833760627296919E-2</c:v>
                </c:pt>
                <c:pt idx="7">
                  <c:v>2.7484942762720045E-2</c:v>
                </c:pt>
                <c:pt idx="8">
                  <c:v>2.246912342141015E-2</c:v>
                </c:pt>
                <c:pt idx="9">
                  <c:v>2.035849110581398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La Roche-Posay (1.9%)</c:v>
                </c:pt>
                <c:pt idx="5">
                  <c:v>EQUATE (6.3%)</c:v>
                </c:pt>
                <c:pt idx="6">
                  <c:v>Garnier (1.7%)</c:v>
                </c:pt>
                <c:pt idx="7">
                  <c:v>Eucerin (1.1%)</c:v>
                </c:pt>
                <c:pt idx="8">
                  <c:v>Caribbean Beach (6.6%)</c:v>
                </c:pt>
                <c:pt idx="9">
                  <c:v>L'Oreal Paris (0.9%)</c:v>
                </c:pt>
              </c:strCache>
            </c:strRef>
          </c:cat>
          <c:val>
            <c:numRef>
              <c:f>Sheet1!$B$2:$B$11</c:f>
              <c:numCache>
                <c:formatCode>General</c:formatCode>
                <c:ptCount val="10"/>
                <c:pt idx="0">
                  <c:v>0.42296944152012972</c:v>
                </c:pt>
                <c:pt idx="1">
                  <c:v>0.14681679686064586</c:v>
                </c:pt>
                <c:pt idx="2">
                  <c:v>0.10440597704790751</c:v>
                </c:pt>
                <c:pt idx="3">
                  <c:v>7.6354968125440556E-2</c:v>
                </c:pt>
                <c:pt idx="4">
                  <c:v>5.0151345961323847E-2</c:v>
                </c:pt>
                <c:pt idx="5">
                  <c:v>3.909409746925438E-2</c:v>
                </c:pt>
                <c:pt idx="6">
                  <c:v>3.6747618888007393E-2</c:v>
                </c:pt>
                <c:pt idx="7">
                  <c:v>3.3529270015261091E-2</c:v>
                </c:pt>
                <c:pt idx="8">
                  <c:v>2.693637298614637E-2</c:v>
                </c:pt>
                <c:pt idx="9">
                  <c:v>2.587148003655182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Nuvel (2.3%)</c:v>
                </c:pt>
                <c:pt idx="5">
                  <c:v>Banana Boat (15.9%)</c:v>
                </c:pt>
                <c:pt idx="6">
                  <c:v>Neutrogena (2.7%)</c:v>
                </c:pt>
                <c:pt idx="7">
                  <c:v>Isdin (1.8%)</c:v>
                </c:pt>
                <c:pt idx="8">
                  <c:v>L'Oreal Paris (0.9%)</c:v>
                </c:pt>
                <c:pt idx="9">
                  <c:v>Eucerin (1.1%)</c:v>
                </c:pt>
              </c:strCache>
            </c:strRef>
          </c:cat>
          <c:val>
            <c:numRef>
              <c:f>Sheet1!$B$2:$B$11</c:f>
              <c:numCache>
                <c:formatCode>General</c:formatCode>
                <c:ptCount val="10"/>
                <c:pt idx="0">
                  <c:v>0.41073430336091143</c:v>
                </c:pt>
                <c:pt idx="1">
                  <c:v>0.13923246032963585</c:v>
                </c:pt>
                <c:pt idx="2">
                  <c:v>0.13772003299382665</c:v>
                </c:pt>
                <c:pt idx="3">
                  <c:v>9.9142520861509847E-2</c:v>
                </c:pt>
                <c:pt idx="4">
                  <c:v>7.5252243510171596E-2</c:v>
                </c:pt>
                <c:pt idx="5">
                  <c:v>4.1198488194822094E-2</c:v>
                </c:pt>
                <c:pt idx="6">
                  <c:v>3.517829313026466E-2</c:v>
                </c:pt>
                <c:pt idx="7">
                  <c:v>1.4673313957433884E-2</c:v>
                </c:pt>
                <c:pt idx="8">
                  <c:v>1.4174972550902538E-2</c:v>
                </c:pt>
                <c:pt idx="9">
                  <c:v>1.10302130832694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Neutrogena (2.7%)</c:v>
                </c:pt>
                <c:pt idx="7">
                  <c:v>L'Oreal Paris (0.9%)</c:v>
                </c:pt>
                <c:pt idx="8">
                  <c:v>Isdin (1.8%)</c:v>
                </c:pt>
                <c:pt idx="9">
                  <c:v>La Roche-Posay (1.9%)</c:v>
                </c:pt>
              </c:strCache>
            </c:strRef>
          </c:cat>
          <c:val>
            <c:numRef>
              <c:f>Sheet1!$B$2:$B$11</c:f>
              <c:numCache>
                <c:formatCode>General</c:formatCode>
                <c:ptCount val="10"/>
                <c:pt idx="0">
                  <c:v>0.47805116117933116</c:v>
                </c:pt>
                <c:pt idx="1">
                  <c:v>0.12882036659363241</c:v>
                </c:pt>
                <c:pt idx="2">
                  <c:v>9.2816922858705686E-2</c:v>
                </c:pt>
                <c:pt idx="3">
                  <c:v>8.8921689909894894E-2</c:v>
                </c:pt>
                <c:pt idx="4">
                  <c:v>4.9455320077708531E-2</c:v>
                </c:pt>
                <c:pt idx="5">
                  <c:v>4.7170272108998698E-2</c:v>
                </c:pt>
                <c:pt idx="6">
                  <c:v>4.479547084388201E-2</c:v>
                </c:pt>
                <c:pt idx="7">
                  <c:v>1.9836488029348974E-2</c:v>
                </c:pt>
                <c:pt idx="8">
                  <c:v>1.9554955055681281E-2</c:v>
                </c:pt>
                <c:pt idx="9">
                  <c:v>9.6675582696114388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Garnier (1.7%)</c:v>
                </c:pt>
                <c:pt idx="6">
                  <c:v>Neutrogena (2.7%)</c:v>
                </c:pt>
                <c:pt idx="7">
                  <c:v>Nuvel (2.3%)</c:v>
                </c:pt>
                <c:pt idx="8">
                  <c:v>Isdin (1.8%)</c:v>
                </c:pt>
                <c:pt idx="9">
                  <c:v>La Roche-Posay (1.9%)</c:v>
                </c:pt>
              </c:strCache>
            </c:strRef>
          </c:cat>
          <c:val>
            <c:numRef>
              <c:f>Sheet1!$B$2:$B$11</c:f>
              <c:numCache>
                <c:formatCode>General</c:formatCode>
                <c:ptCount val="10"/>
                <c:pt idx="0">
                  <c:v>0.46055209910049438</c:v>
                </c:pt>
                <c:pt idx="1">
                  <c:v>0.13313442426668165</c:v>
                </c:pt>
                <c:pt idx="2">
                  <c:v>8.5161244396698907E-2</c:v>
                </c:pt>
                <c:pt idx="3">
                  <c:v>7.7241883549214727E-2</c:v>
                </c:pt>
                <c:pt idx="4">
                  <c:v>7.601057188943787E-2</c:v>
                </c:pt>
                <c:pt idx="5">
                  <c:v>4.7165487097271336E-2</c:v>
                </c:pt>
                <c:pt idx="6">
                  <c:v>4.1922241655936054E-2</c:v>
                </c:pt>
                <c:pt idx="7">
                  <c:v>2.5798460158035535E-2</c:v>
                </c:pt>
                <c:pt idx="8">
                  <c:v>1.873229632342327E-2</c:v>
                </c:pt>
                <c:pt idx="9">
                  <c:v>1.208423617355616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Garnier (1.7%)</c:v>
                </c:pt>
                <c:pt idx="6">
                  <c:v>Caribbean Beach (6.6%)</c:v>
                </c:pt>
                <c:pt idx="7">
                  <c:v>Isdin (1.8%)</c:v>
                </c:pt>
                <c:pt idx="8">
                  <c:v>La Roche-Posay (1.9%)</c:v>
                </c:pt>
                <c:pt idx="9">
                  <c:v>Eucerin (1.1%)</c:v>
                </c:pt>
              </c:strCache>
            </c:strRef>
          </c:cat>
          <c:val>
            <c:numRef>
              <c:f>Sheet1!$B$2:$B$11</c:f>
              <c:numCache>
                <c:formatCode>General</c:formatCode>
                <c:ptCount val="10"/>
                <c:pt idx="0">
                  <c:v>0.48601984938300519</c:v>
                </c:pt>
                <c:pt idx="1">
                  <c:v>0.15232755908994744</c:v>
                </c:pt>
                <c:pt idx="2">
                  <c:v>9.2372465774629209E-2</c:v>
                </c:pt>
                <c:pt idx="3">
                  <c:v>4.7496020483727079E-2</c:v>
                </c:pt>
                <c:pt idx="4">
                  <c:v>4.45819063984422E-2</c:v>
                </c:pt>
                <c:pt idx="5">
                  <c:v>4.3189503475049962E-2</c:v>
                </c:pt>
                <c:pt idx="6">
                  <c:v>4.0389281456761683E-2</c:v>
                </c:pt>
                <c:pt idx="7">
                  <c:v>3.0191217463738613E-2</c:v>
                </c:pt>
                <c:pt idx="8">
                  <c:v>2.0178975434452132E-2</c:v>
                </c:pt>
                <c:pt idx="9">
                  <c:v>1.553261230461121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Eucerin (1.1%)</c:v>
                </c:pt>
                <c:pt idx="8">
                  <c:v>Caribbean Beach (6.6%)</c:v>
                </c:pt>
                <c:pt idx="9">
                  <c:v>Garnier (1.7%)</c:v>
                </c:pt>
              </c:strCache>
            </c:strRef>
          </c:cat>
          <c:val>
            <c:numRef>
              <c:f>Sheet1!$B$2:$B$11</c:f>
              <c:numCache>
                <c:formatCode>General</c:formatCode>
                <c:ptCount val="10"/>
                <c:pt idx="0">
                  <c:v>0.42375871728897918</c:v>
                </c:pt>
                <c:pt idx="1">
                  <c:v>0.12542148645715442</c:v>
                </c:pt>
                <c:pt idx="2">
                  <c:v>0.10974797423796653</c:v>
                </c:pt>
                <c:pt idx="3">
                  <c:v>6.4134098540743478E-2</c:v>
                </c:pt>
                <c:pt idx="4">
                  <c:v>6.042013952835823E-2</c:v>
                </c:pt>
                <c:pt idx="5">
                  <c:v>5.1306054436378187E-2</c:v>
                </c:pt>
                <c:pt idx="6">
                  <c:v>4.0092387567938252E-2</c:v>
                </c:pt>
                <c:pt idx="7">
                  <c:v>2.9734349828676856E-2</c:v>
                </c:pt>
                <c:pt idx="8">
                  <c:v>2.8345699229777997E-2</c:v>
                </c:pt>
                <c:pt idx="9">
                  <c:v>2.692306105272582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Garnier (1.7%)</c:v>
                </c:pt>
                <c:pt idx="8">
                  <c:v>Caribbean Beach (6.6%)</c:v>
                </c:pt>
                <c:pt idx="9">
                  <c:v>Eucerin (1.1%)</c:v>
                </c:pt>
              </c:strCache>
            </c:strRef>
          </c:cat>
          <c:val>
            <c:numRef>
              <c:f>Sheet1!$B$2:$B$11</c:f>
              <c:numCache>
                <c:formatCode>General</c:formatCode>
                <c:ptCount val="10"/>
                <c:pt idx="0">
                  <c:v>0.40368892718960347</c:v>
                </c:pt>
                <c:pt idx="1">
                  <c:v>0.12000679981037958</c:v>
                </c:pt>
                <c:pt idx="2">
                  <c:v>0.11337476432102254</c:v>
                </c:pt>
                <c:pt idx="3">
                  <c:v>6.5766033054110343E-2</c:v>
                </c:pt>
                <c:pt idx="4">
                  <c:v>6.5114847815140417E-2</c:v>
                </c:pt>
                <c:pt idx="5">
                  <c:v>5.420802604702453E-2</c:v>
                </c:pt>
                <c:pt idx="6">
                  <c:v>4.1625724977990948E-2</c:v>
                </c:pt>
                <c:pt idx="7">
                  <c:v>3.1471654556084271E-2</c:v>
                </c:pt>
                <c:pt idx="8">
                  <c:v>2.8616474112980402E-2</c:v>
                </c:pt>
                <c:pt idx="9">
                  <c:v>2.779100501517738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32575915459532057</c:v>
                </c:pt>
                <c:pt idx="1">
                  <c:v>0.19046127317355002</c:v>
                </c:pt>
                <c:pt idx="2">
                  <c:v>0.1740272334124944</c:v>
                </c:pt>
                <c:pt idx="3">
                  <c:v>0.11010084238438693</c:v>
                </c:pt>
                <c:pt idx="4">
                  <c:v>9.4677211499359842E-2</c:v>
                </c:pt>
                <c:pt idx="5">
                  <c:v>3.1086945248995919E-2</c:v>
                </c:pt>
                <c:pt idx="6">
                  <c:v>2.5338949906496631E-2</c:v>
                </c:pt>
                <c:pt idx="7">
                  <c:v>1.1174760443621069E-2</c:v>
                </c:pt>
                <c:pt idx="8">
                  <c:v>9.0305597344739457E-3</c:v>
                </c:pt>
                <c:pt idx="9">
                  <c:v>7.28877745345804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Eucer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La Roche-Pos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4</c:f>
              <c:numCache>
                <c:formatCode>General</c:formatCode>
                <c:ptCount val="13"/>
                <c:pt idx="0">
                  <c:v>-1.0310860770776382</c:v>
                </c:pt>
                <c:pt idx="1">
                  <c:v>-2.0405674432701595</c:v>
                </c:pt>
                <c:pt idx="2">
                  <c:v>-2.6114049847646084</c:v>
                </c:pt>
                <c:pt idx="3">
                  <c:v>-2.1500376961340839</c:v>
                </c:pt>
                <c:pt idx="4">
                  <c:v>-2.5501190662067463</c:v>
                </c:pt>
                <c:pt idx="5">
                  <c:v>-0.92686844529069512</c:v>
                </c:pt>
                <c:pt idx="6">
                  <c:v>-1.1238465385436831</c:v>
                </c:pt>
                <c:pt idx="7">
                  <c:v>-2.3255702429900147</c:v>
                </c:pt>
                <c:pt idx="8">
                  <c:v>-1.9319533657228816</c:v>
                </c:pt>
                <c:pt idx="9">
                  <c:v>-2.320534821779261</c:v>
                </c:pt>
                <c:pt idx="10">
                  <c:v>-2.4675547287377673</c:v>
                </c:pt>
                <c:pt idx="11">
                  <c:v>-1.7407684287728244</c:v>
                </c:pt>
                <c:pt idx="12">
                  <c:v>-1.1645288181168223</c:v>
                </c:pt>
              </c:numCache>
            </c:numRef>
          </c:xVal>
          <c:yVal>
            <c:numRef>
              <c:f>Sheet1!$B$2:$B$14</c:f>
              <c:numCache>
                <c:formatCode>General</c:formatCode>
                <c:ptCount val="13"/>
                <c:pt idx="0">
                  <c:v>-0.93599183184658574</c:v>
                </c:pt>
                <c:pt idx="1">
                  <c:v>-0.57924696385950625</c:v>
                </c:pt>
                <c:pt idx="2">
                  <c:v>-0.96996969519762599</c:v>
                </c:pt>
                <c:pt idx="3">
                  <c:v>-1.8495805662715863</c:v>
                </c:pt>
                <c:pt idx="4">
                  <c:v>-0.82049752513234042</c:v>
                </c:pt>
                <c:pt idx="5">
                  <c:v>-0.74639533552285553</c:v>
                </c:pt>
                <c:pt idx="6">
                  <c:v>-1.3985666078486745</c:v>
                </c:pt>
                <c:pt idx="7">
                  <c:v>-1.8229064242910398</c:v>
                </c:pt>
                <c:pt idx="8">
                  <c:v>-1.0826881318730208</c:v>
                </c:pt>
                <c:pt idx="9">
                  <c:v>-0.87353531055736244</c:v>
                </c:pt>
                <c:pt idx="10">
                  <c:v>-0.87172963207545384</c:v>
                </c:pt>
                <c:pt idx="11">
                  <c:v>-1.4267068714285782</c:v>
                </c:pt>
                <c:pt idx="12">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29273710498982369</c:v>
                </c:pt>
                <c:pt idx="1">
                  <c:v>0.221292107102256</c:v>
                </c:pt>
                <c:pt idx="2">
                  <c:v>0.20648417299152219</c:v>
                </c:pt>
                <c:pt idx="3">
                  <c:v>0.11138838221841169</c:v>
                </c:pt>
                <c:pt idx="4">
                  <c:v>0.10864502403659261</c:v>
                </c:pt>
                <c:pt idx="5">
                  <c:v>1.7905928938641354E-2</c:v>
                </c:pt>
                <c:pt idx="6">
                  <c:v>1.6237115933768278E-2</c:v>
                </c:pt>
                <c:pt idx="7">
                  <c:v>5.7774653956017691E-3</c:v>
                </c:pt>
                <c:pt idx="8">
                  <c:v>5.2979020196104627E-3</c:v>
                </c:pt>
                <c:pt idx="9">
                  <c:v>3.7711357891766261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28683445585506079</c:v>
                </c:pt>
                <c:pt idx="1">
                  <c:v>0.16790072279518084</c:v>
                </c:pt>
                <c:pt idx="2">
                  <c:v>0.16007236733657526</c:v>
                </c:pt>
                <c:pt idx="3">
                  <c:v>0.14583866288230676</c:v>
                </c:pt>
                <c:pt idx="4">
                  <c:v>0.10832205166832599</c:v>
                </c:pt>
                <c:pt idx="5">
                  <c:v>4.6602041718493969E-2</c:v>
                </c:pt>
                <c:pt idx="6">
                  <c:v>2.1804965255889191E-2</c:v>
                </c:pt>
                <c:pt idx="7">
                  <c:v>2.15084825859112E-2</c:v>
                </c:pt>
                <c:pt idx="8">
                  <c:v>9.607134638562994E-3</c:v>
                </c:pt>
                <c:pt idx="9">
                  <c:v>6.3859393507706584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Neutrogena (2.7%)</c:v>
                </c:pt>
                <c:pt idx="7">
                  <c:v>Garnier (1.7%)</c:v>
                </c:pt>
                <c:pt idx="8">
                  <c:v>Isdin (1.8%)</c:v>
                </c:pt>
                <c:pt idx="9">
                  <c:v>La Roche-Posay (1.9%)</c:v>
                </c:pt>
              </c:strCache>
            </c:strRef>
          </c:cat>
          <c:val>
            <c:numRef>
              <c:f>Sheet1!$B$2:$B$11</c:f>
              <c:numCache>
                <c:formatCode>General</c:formatCode>
                <c:ptCount val="10"/>
                <c:pt idx="0">
                  <c:v>0.32120320854370327</c:v>
                </c:pt>
                <c:pt idx="1">
                  <c:v>0.18629808901748873</c:v>
                </c:pt>
                <c:pt idx="2">
                  <c:v>0.16597454911819762</c:v>
                </c:pt>
                <c:pt idx="3">
                  <c:v>0.11323584850611716</c:v>
                </c:pt>
                <c:pt idx="4">
                  <c:v>0.10291817650531818</c:v>
                </c:pt>
                <c:pt idx="5">
                  <c:v>2.9842489962297793E-2</c:v>
                </c:pt>
                <c:pt idx="6">
                  <c:v>2.0301908815208363E-2</c:v>
                </c:pt>
                <c:pt idx="7">
                  <c:v>1.5706671579409609E-2</c:v>
                </c:pt>
                <c:pt idx="8">
                  <c:v>9.5886445916912207E-3</c:v>
                </c:pt>
                <c:pt idx="9">
                  <c:v>8.6569282159410441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eutrogena (2.7%)</c:v>
                </c:pt>
                <c:pt idx="6">
                  <c:v>Garnier (1.7%)</c:v>
                </c:pt>
                <c:pt idx="7">
                  <c:v>Nuvel (2.3%)</c:v>
                </c:pt>
                <c:pt idx="8">
                  <c:v>Isdin (1.8%)</c:v>
                </c:pt>
                <c:pt idx="9">
                  <c:v>L'Oreal Paris (0.9%)</c:v>
                </c:pt>
              </c:strCache>
            </c:strRef>
          </c:cat>
          <c:val>
            <c:numRef>
              <c:f>Sheet1!$B$2:$B$11</c:f>
              <c:numCache>
                <c:formatCode>General</c:formatCode>
                <c:ptCount val="10"/>
                <c:pt idx="0">
                  <c:v>0.35633637142906566</c:v>
                </c:pt>
                <c:pt idx="1">
                  <c:v>0.16746007787551193</c:v>
                </c:pt>
                <c:pt idx="2">
                  <c:v>9.7413762982010335E-2</c:v>
                </c:pt>
                <c:pt idx="3">
                  <c:v>9.3911562819442101E-2</c:v>
                </c:pt>
                <c:pt idx="4">
                  <c:v>8.8426065349495001E-2</c:v>
                </c:pt>
                <c:pt idx="5">
                  <c:v>4.2967159895053078E-2</c:v>
                </c:pt>
                <c:pt idx="6">
                  <c:v>3.5410771116927565E-2</c:v>
                </c:pt>
                <c:pt idx="7">
                  <c:v>3.3274035077029425E-2</c:v>
                </c:pt>
                <c:pt idx="8">
                  <c:v>2.9147111064518384E-2</c:v>
                </c:pt>
                <c:pt idx="9">
                  <c:v>1.601168633044231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Garnier (1.7%)</c:v>
                </c:pt>
                <c:pt idx="7">
                  <c:v>Nuvel (2.3%)</c:v>
                </c:pt>
                <c:pt idx="8">
                  <c:v>Isdin (1.8%)</c:v>
                </c:pt>
                <c:pt idx="9">
                  <c:v>La Roche-Posay (1.9%)</c:v>
                </c:pt>
              </c:strCache>
            </c:strRef>
          </c:cat>
          <c:val>
            <c:numRef>
              <c:f>Sheet1!$B$2:$B$11</c:f>
              <c:numCache>
                <c:formatCode>General</c:formatCode>
                <c:ptCount val="10"/>
                <c:pt idx="0">
                  <c:v>0.36656224705100621</c:v>
                </c:pt>
                <c:pt idx="1">
                  <c:v>0.16401850209163013</c:v>
                </c:pt>
                <c:pt idx="2">
                  <c:v>0.11983996754020654</c:v>
                </c:pt>
                <c:pt idx="3">
                  <c:v>8.7109242322764707E-2</c:v>
                </c:pt>
                <c:pt idx="4">
                  <c:v>8.1820168061565834E-2</c:v>
                </c:pt>
                <c:pt idx="5">
                  <c:v>3.8166215010224845E-2</c:v>
                </c:pt>
                <c:pt idx="6">
                  <c:v>2.8297243001417761E-2</c:v>
                </c:pt>
                <c:pt idx="7">
                  <c:v>2.8180120829103487E-2</c:v>
                </c:pt>
                <c:pt idx="8">
                  <c:v>2.5858146545944351E-2</c:v>
                </c:pt>
                <c:pt idx="9">
                  <c:v>1.628493114192866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EQUATE (6.3%)</c:v>
                </c:pt>
                <c:pt idx="5">
                  <c:v>Isdin (1.8%)</c:v>
                </c:pt>
                <c:pt idx="6">
                  <c:v>La Roche-Posay (1.9%)</c:v>
                </c:pt>
                <c:pt idx="7">
                  <c:v>Caribbean Beach (6.6%)</c:v>
                </c:pt>
                <c:pt idx="8">
                  <c:v>Garnier (1.7%)</c:v>
                </c:pt>
                <c:pt idx="9">
                  <c:v>Nuvel (2.3%)</c:v>
                </c:pt>
              </c:strCache>
            </c:strRef>
          </c:cat>
          <c:val>
            <c:numRef>
              <c:f>Sheet1!$B$2:$B$11</c:f>
              <c:numCache>
                <c:formatCode>General</c:formatCode>
                <c:ptCount val="10"/>
                <c:pt idx="0">
                  <c:v>0.46541518835558876</c:v>
                </c:pt>
                <c:pt idx="1">
                  <c:v>9.1038811610862802E-2</c:v>
                </c:pt>
                <c:pt idx="2">
                  <c:v>8.3777563819860942E-2</c:v>
                </c:pt>
                <c:pt idx="3">
                  <c:v>7.9967455943247528E-2</c:v>
                </c:pt>
                <c:pt idx="4">
                  <c:v>6.4040933064505631E-2</c:v>
                </c:pt>
                <c:pt idx="5">
                  <c:v>4.4064925912357909E-2</c:v>
                </c:pt>
                <c:pt idx="6">
                  <c:v>4.312111291562773E-2</c:v>
                </c:pt>
                <c:pt idx="7">
                  <c:v>3.8527985065031758E-2</c:v>
                </c:pt>
                <c:pt idx="8">
                  <c:v>2.8497506315273577E-2</c:v>
                </c:pt>
                <c:pt idx="9">
                  <c:v>2.54623900285481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Neutrogena (2.7%)</c:v>
                </c:pt>
                <c:pt idx="3">
                  <c:v>Hawaiian Tropic (19.3%)</c:v>
                </c:pt>
                <c:pt idx="4">
                  <c:v>La Roche-Posay (1.9%)</c:v>
                </c:pt>
                <c:pt idx="5">
                  <c:v>EQUATE (6.3%)</c:v>
                </c:pt>
                <c:pt idx="6">
                  <c:v>Isdin (1.8%)</c:v>
                </c:pt>
                <c:pt idx="7">
                  <c:v>Caribbean Beach (6.6%)</c:v>
                </c:pt>
                <c:pt idx="8">
                  <c:v>Garnier (1.7%)</c:v>
                </c:pt>
                <c:pt idx="9">
                  <c:v>L'Oreal Paris (0.9%)</c:v>
                </c:pt>
              </c:strCache>
            </c:strRef>
          </c:cat>
          <c:val>
            <c:numRef>
              <c:f>Sheet1!$B$2:$B$11</c:f>
              <c:numCache>
                <c:formatCode>General</c:formatCode>
                <c:ptCount val="10"/>
                <c:pt idx="0">
                  <c:v>0.45365409472048379</c:v>
                </c:pt>
                <c:pt idx="1">
                  <c:v>9.6379427989555053E-2</c:v>
                </c:pt>
                <c:pt idx="2">
                  <c:v>8.6705095015938788E-2</c:v>
                </c:pt>
                <c:pt idx="3">
                  <c:v>8.1445895265938803E-2</c:v>
                </c:pt>
                <c:pt idx="4">
                  <c:v>5.6277188939837408E-2</c:v>
                </c:pt>
                <c:pt idx="5">
                  <c:v>5.6069153693308706E-2</c:v>
                </c:pt>
                <c:pt idx="6">
                  <c:v>5.3201576836368308E-2</c:v>
                </c:pt>
                <c:pt idx="7">
                  <c:v>2.9896972995207334E-2</c:v>
                </c:pt>
                <c:pt idx="8">
                  <c:v>2.5687700396917777E-2</c:v>
                </c:pt>
                <c:pt idx="9">
                  <c:v>2.126092916132396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Isdin (1.8%)</c:v>
                </c:pt>
                <c:pt idx="5">
                  <c:v>Eucerin (1.1%)</c:v>
                </c:pt>
                <c:pt idx="6">
                  <c:v>Garnier (1.7%)</c:v>
                </c:pt>
                <c:pt idx="7">
                  <c:v>EQUATE (6.3%)</c:v>
                </c:pt>
                <c:pt idx="8">
                  <c:v>Caribbean Beach (6.6%)</c:v>
                </c:pt>
                <c:pt idx="9">
                  <c:v>L'Oreal Paris (0.9%)</c:v>
                </c:pt>
              </c:strCache>
            </c:strRef>
          </c:cat>
          <c:val>
            <c:numRef>
              <c:f>Sheet1!$B$2:$B$11</c:f>
              <c:numCache>
                <c:formatCode>General</c:formatCode>
                <c:ptCount val="10"/>
                <c:pt idx="0">
                  <c:v>0.5170416733603036</c:v>
                </c:pt>
                <c:pt idx="1">
                  <c:v>0.11593534779791523</c:v>
                </c:pt>
                <c:pt idx="2">
                  <c:v>9.918726314470179E-2</c:v>
                </c:pt>
                <c:pt idx="3">
                  <c:v>5.6730458440915732E-2</c:v>
                </c:pt>
                <c:pt idx="4">
                  <c:v>5.1854024725910879E-2</c:v>
                </c:pt>
                <c:pt idx="5">
                  <c:v>3.3675718676092696E-2</c:v>
                </c:pt>
                <c:pt idx="6">
                  <c:v>2.8540716423748252E-2</c:v>
                </c:pt>
                <c:pt idx="7">
                  <c:v>2.7158769754834149E-2</c:v>
                </c:pt>
                <c:pt idx="8">
                  <c:v>2.1075550874876989E-2</c:v>
                </c:pt>
                <c:pt idx="9">
                  <c:v>2.017930054008721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Isdin (1.8%)</c:v>
                </c:pt>
                <c:pt idx="5">
                  <c:v>Eucerin (1.1%)</c:v>
                </c:pt>
                <c:pt idx="6">
                  <c:v>EQUATE (6.3%)</c:v>
                </c:pt>
                <c:pt idx="7">
                  <c:v>Garnier (1.7%)</c:v>
                </c:pt>
                <c:pt idx="8">
                  <c:v>L'Oreal Paris (0.9%)</c:v>
                </c:pt>
                <c:pt idx="9">
                  <c:v>Caribbean Beach (6.6%)</c:v>
                </c:pt>
              </c:strCache>
            </c:strRef>
          </c:cat>
          <c:val>
            <c:numRef>
              <c:f>Sheet1!$B$2:$B$11</c:f>
              <c:numCache>
                <c:formatCode>General</c:formatCode>
                <c:ptCount val="10"/>
                <c:pt idx="0">
                  <c:v>0.46519658578930861</c:v>
                </c:pt>
                <c:pt idx="1">
                  <c:v>0.15190543027728912</c:v>
                </c:pt>
                <c:pt idx="2">
                  <c:v>0.11590669449758037</c:v>
                </c:pt>
                <c:pt idx="3">
                  <c:v>5.7342018092577371E-2</c:v>
                </c:pt>
                <c:pt idx="4">
                  <c:v>5.6780527959565619E-2</c:v>
                </c:pt>
                <c:pt idx="5">
                  <c:v>4.2535750090516793E-2</c:v>
                </c:pt>
                <c:pt idx="6">
                  <c:v>2.721684937746555E-2</c:v>
                </c:pt>
                <c:pt idx="7">
                  <c:v>1.8734323676800179E-2</c:v>
                </c:pt>
                <c:pt idx="8">
                  <c:v>1.6810509592462927E-2</c:v>
                </c:pt>
                <c:pt idx="9">
                  <c:v>1.652830980543125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2835423588678969</c:v>
                </c:pt>
                <c:pt idx="1">
                  <c:v>0.27291828729806827</c:v>
                </c:pt>
                <c:pt idx="2">
                  <c:v>0</c:v>
                </c:pt>
                <c:pt idx="3">
                  <c:v>-0.23503277551229251</c:v>
                </c:pt>
                <c:pt idx="4">
                  <c:v>-0.2758519069659591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pray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5102763498636482</c:v>
                </c:pt>
                <c:pt idx="1">
                  <c:v>7.2006364322012545E-2</c:v>
                </c:pt>
                <c:pt idx="2">
                  <c:v>0</c:v>
                </c:pt>
                <c:pt idx="3">
                  <c:v>-0.17885854584987304</c:v>
                </c:pt>
                <c:pt idx="4">
                  <c:v>-0.2550964346090003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Duo Defense Lotion FPS50+ 18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4361906610533634</c:v>
                </c:pt>
                <c:pt idx="1">
                  <c:v>0.28028222239554718</c:v>
                </c:pt>
                <c:pt idx="2">
                  <c:v>0</c:v>
                </c:pt>
                <c:pt idx="3">
                  <c:v>-0.12938159167125093</c:v>
                </c:pt>
                <c:pt idx="4">
                  <c:v>-0.3535208371904612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Hawaiian Tropic Ozono Lotion FPS50+ 24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00</c:v>
                </c:pt>
                <c:pt idx="1">
                  <c:v>315</c:v>
                </c:pt>
                <c:pt idx="2">
                  <c:v>350</c:v>
                </c:pt>
                <c:pt idx="3">
                  <c:v>385</c:v>
                </c:pt>
                <c:pt idx="4">
                  <c:v>430</c:v>
                </c:pt>
              </c:numCache>
            </c:numRef>
          </c:xVal>
          <c:yVal>
            <c:numRef>
              <c:f>Sheet1!$B$23:$B$27</c:f>
              <c:numCache>
                <c:formatCode>General</c:formatCode>
                <c:ptCount val="5"/>
                <c:pt idx="0">
                  <c:v>0.51156104578026285</c:v>
                </c:pt>
                <c:pt idx="1">
                  <c:v>0.38321112198719531</c:v>
                </c:pt>
                <c:pt idx="2">
                  <c:v>0</c:v>
                </c:pt>
                <c:pt idx="3">
                  <c:v>-0.20124164710353476</c:v>
                </c:pt>
                <c:pt idx="4">
                  <c:v>-0.4306237770755506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175"/>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6</c:f>
              <c:numCache>
                <c:formatCode>General</c:formatCode>
                <c:ptCount val="5"/>
                <c:pt idx="0">
                  <c:v>-2.6892356509182744</c:v>
                </c:pt>
                <c:pt idx="1">
                  <c:v>-0.92980018595900304</c:v>
                </c:pt>
                <c:pt idx="2">
                  <c:v>-3.4086581209416575</c:v>
                </c:pt>
                <c:pt idx="3">
                  <c:v>-0.91832950229865173</c:v>
                </c:pt>
                <c:pt idx="4">
                  <c:v>-1.1288296022868922</c:v>
                </c:pt>
              </c:numCache>
            </c:numRef>
          </c:xVal>
          <c:yVal>
            <c:numRef>
              <c:f>Sheet1!$B$2:$B$6</c:f>
              <c:numCache>
                <c:formatCode>General</c:formatCode>
                <c:ptCount val="5"/>
                <c:pt idx="0">
                  <c:v>-1.349012417507965</c:v>
                </c:pt>
                <c:pt idx="1">
                  <c:v>-1.8746919745653341</c:v>
                </c:pt>
                <c:pt idx="2">
                  <c:v>-1.4583517568209319</c:v>
                </c:pt>
                <c:pt idx="3">
                  <c:v>-0.71061543143240635</c:v>
                </c:pt>
                <c:pt idx="4">
                  <c:v>-0.6518875136731126</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2.83542358867899</c:v>
                </c:pt>
                <c:pt idx="1">
                  <c:v>130.94231443807277</c:v>
                </c:pt>
                <c:pt idx="2">
                  <c:v>129.09497622571462</c:v>
                </c:pt>
                <c:pt idx="3">
                  <c:v>127.29182872980687</c:v>
                </c:pt>
                <c:pt idx="4">
                  <c:v>116.66384312506545</c:v>
                </c:pt>
                <c:pt idx="5">
                  <c:v>107.655486934891</c:v>
                </c:pt>
                <c:pt idx="6">
                  <c:v>100</c:v>
                </c:pt>
                <c:pt idx="7">
                  <c:v>93.46385798005727</c:v>
                </c:pt>
                <c:pt idx="8">
                  <c:v>87.847857170339736</c:v>
                </c:pt>
                <c:pt idx="9">
                  <c:v>84.601740742080665</c:v>
                </c:pt>
                <c:pt idx="10">
                  <c:v>81.655129956503885</c:v>
                </c:pt>
                <c:pt idx="11">
                  <c:v>78.965327858888372</c:v>
                </c:pt>
                <c:pt idx="12">
                  <c:v>76.496722448770768</c:v>
                </c:pt>
                <c:pt idx="13">
                  <c:v>75.653153244708008</c:v>
                </c:pt>
                <c:pt idx="14">
                  <c:v>74.82347601868436</c:v>
                </c:pt>
                <c:pt idx="15">
                  <c:v>74.007388661167639</c:v>
                </c:pt>
                <c:pt idx="16">
                  <c:v>73.204595918584943</c:v>
                </c:pt>
                <c:pt idx="17">
                  <c:v>72.41480930340408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3.54594682069052</c:v>
                </c:pt>
                <c:pt idx="1">
                  <c:v>115.09621195252862</c:v>
                </c:pt>
                <c:pt idx="2">
                  <c:v>116.59546030378011</c:v>
                </c:pt>
                <c:pt idx="3">
                  <c:v>118.04561518313986</c:v>
                </c:pt>
                <c:pt idx="4">
                  <c:v>111.0129401884144</c:v>
                </c:pt>
                <c:pt idx="5">
                  <c:v>105.04767529926018</c:v>
                </c:pt>
                <c:pt idx="6">
                  <c:v>100</c:v>
                </c:pt>
                <c:pt idx="7">
                  <c:v>95.728570365964956</c:v>
                </c:pt>
                <c:pt idx="8">
                  <c:v>92.105582863380292</c:v>
                </c:pt>
                <c:pt idx="9">
                  <c:v>90.749739283590486</c:v>
                </c:pt>
                <c:pt idx="10">
                  <c:v>89.565484853028181</c:v>
                </c:pt>
                <c:pt idx="11">
                  <c:v>88.526641123335352</c:v>
                </c:pt>
                <c:pt idx="12">
                  <c:v>87.611027213014111</c:v>
                </c:pt>
                <c:pt idx="13">
                  <c:v>88.4777105101535</c:v>
                </c:pt>
                <c:pt idx="14">
                  <c:v>89.319889611350519</c:v>
                </c:pt>
                <c:pt idx="15">
                  <c:v>90.138221367688914</c:v>
                </c:pt>
                <c:pt idx="16">
                  <c:v>90.933341014547381</c:v>
                </c:pt>
                <c:pt idx="17">
                  <c:v>91.7058629365675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1.51687701403478</c:v>
                </c:pt>
                <c:pt idx="1">
                  <c:v>105.2154735188734</c:v>
                </c:pt>
                <c:pt idx="2">
                  <c:v>108.80386754275324</c:v>
                </c:pt>
                <c:pt idx="3">
                  <c:v>112.28606084446302</c:v>
                </c:pt>
                <c:pt idx="4">
                  <c:v>107.49524962347297</c:v>
                </c:pt>
                <c:pt idx="5">
                  <c:v>103.42517284835833</c:v>
                </c:pt>
                <c:pt idx="6">
                  <c:v>100</c:v>
                </c:pt>
                <c:pt idx="7">
                  <c:v>97.136513097337712</c:v>
                </c:pt>
                <c:pt idx="8">
                  <c:v>94.751806764365767</c:v>
                </c:pt>
                <c:pt idx="9">
                  <c:v>94.574997446298624</c:v>
                </c:pt>
                <c:pt idx="10">
                  <c:v>94.489658184556873</c:v>
                </c:pt>
                <c:pt idx="11">
                  <c:v>94.480010310288307</c:v>
                </c:pt>
                <c:pt idx="12">
                  <c:v>94.532319431077894</c:v>
                </c:pt>
                <c:pt idx="13">
                  <c:v>96.462647148041043</c:v>
                </c:pt>
                <c:pt idx="14">
                  <c:v>98.344937942617193</c:v>
                </c:pt>
                <c:pt idx="15">
                  <c:v>100.18042051556519</c:v>
                </c:pt>
                <c:pt idx="16">
                  <c:v>101.97028563216341</c:v>
                </c:pt>
                <c:pt idx="17">
                  <c:v>103.715687340447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5567371751840622</c:v>
                </c:pt>
                <c:pt idx="1">
                  <c:v>0.56801611425400589</c:v>
                </c:pt>
                <c:pt idx="2">
                  <c:v>0.57969135440930297</c:v>
                </c:pt>
                <c:pt idx="3">
                  <c:v>0.59075210824063729</c:v>
                </c:pt>
                <c:pt idx="4">
                  <c:v>0.60124564392677471</c:v>
                </c:pt>
                <c:pt idx="5">
                  <c:v>0.61121450282860534</c:v>
                </c:pt>
                <c:pt idx="6">
                  <c:v>0.62069707593034651</c:v>
                </c:pt>
                <c:pt idx="7">
                  <c:v>0.62972809793200524</c:v>
                </c:pt>
                <c:pt idx="8">
                  <c:v>0.63833907239870258</c:v>
                </c:pt>
                <c:pt idx="9">
                  <c:v>0.6465586389350958</c:v>
                </c:pt>
                <c:pt idx="10">
                  <c:v>0.6544128914032048</c:v>
                </c:pt>
                <c:pt idx="11">
                  <c:v>0.66192565463357</c:v>
                </c:pt>
                <c:pt idx="12">
                  <c:v>0.66911872581157905</c:v>
                </c:pt>
                <c:pt idx="13">
                  <c:v>0.67601208569050442</c:v>
                </c:pt>
                <c:pt idx="14">
                  <c:v>0.6826240839417187</c:v>
                </c:pt>
                <c:pt idx="15">
                  <c:v>0.68897160226288434</c:v>
                </c:pt>
                <c:pt idx="16">
                  <c:v>0.69507019829694527</c:v>
                </c:pt>
                <c:pt idx="17">
                  <c:v>0.7009342329450809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120ml (1.4%)</c:v>
                </c:pt>
                <c:pt idx="4">
                  <c:v>Hawaiian Tropic Sheer Touch Lotion FPS50+ 240ml (4.4%)</c:v>
                </c:pt>
                <c:pt idx="5">
                  <c:v>Nivea Sun Protection Sensitive Skin Gel FPS50+ 200ml (5.1%)</c:v>
                </c:pt>
                <c:pt idx="6">
                  <c:v>Equate Sport Lotion FPS30 237ml (2.0%)</c:v>
                </c:pt>
                <c:pt idx="7">
                  <c:v>Equate Ultra Spray FPS50 156g (1.7%)</c:v>
                </c:pt>
                <c:pt idx="8">
                  <c:v>Hawaiian Tropic Island Sport Lotion FPS50 240ml (3.6%)</c:v>
                </c:pt>
                <c:pt idx="9">
                  <c:v>Hawaiian Tropic Sheer Touch Lotion FPS30 240ml (1.7%)</c:v>
                </c:pt>
              </c:strCache>
            </c:strRef>
          </c:cat>
          <c:val>
            <c:numRef>
              <c:f>Sheet1!$B$2:$B$11</c:f>
              <c:numCache>
                <c:formatCode>General</c:formatCode>
                <c:ptCount val="10"/>
                <c:pt idx="0">
                  <c:v>7.3216372976632541E-2</c:v>
                </c:pt>
                <c:pt idx="1">
                  <c:v>5.8405947993093586E-2</c:v>
                </c:pt>
                <c:pt idx="2">
                  <c:v>5.7428675433102212E-2</c:v>
                </c:pt>
                <c:pt idx="3">
                  <c:v>5.6911441820269248E-2</c:v>
                </c:pt>
                <c:pt idx="4">
                  <c:v>5.2764403654343116E-2</c:v>
                </c:pt>
                <c:pt idx="5">
                  <c:v>3.6873576767789004E-2</c:v>
                </c:pt>
                <c:pt idx="6">
                  <c:v>3.6573571718160044E-2</c:v>
                </c:pt>
                <c:pt idx="7">
                  <c:v>3.6536983019542016E-2</c:v>
                </c:pt>
                <c:pt idx="8">
                  <c:v>3.5738731052237072E-2</c:v>
                </c:pt>
                <c:pt idx="9">
                  <c:v>3.336788122398600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Sheer Touch Lotion FPS50 120ml (1.4%)</c:v>
                </c:pt>
                <c:pt idx="3">
                  <c:v>Hawaiian Tropic Ozono Lotion FPS50+ 240ml (4.4%)</c:v>
                </c:pt>
                <c:pt idx="4">
                  <c:v>Equate Ultra Spray FPS50 156g (1.7%)</c:v>
                </c:pt>
                <c:pt idx="5">
                  <c:v>Hawaiian Tropic Sheer Touch Lotion FPS50+ 240ml (4.4%)</c:v>
                </c:pt>
                <c:pt idx="6">
                  <c:v>Equate Sport Lotion FPS30 237ml (2.0%)</c:v>
                </c:pt>
                <c:pt idx="7">
                  <c:v>Nivea Sun Protection Sensitive Skin Gel FPS50+ 200ml (5.1%)</c:v>
                </c:pt>
                <c:pt idx="8">
                  <c:v>Caribbean Beach Advanced Protection Cream FPS50+ 150g (1.0%)</c:v>
                </c:pt>
                <c:pt idx="9">
                  <c:v>Hawaiian Tropic Island Sport Lotion FPS50 240ml (3.6%)</c:v>
                </c:pt>
              </c:strCache>
            </c:strRef>
          </c:cat>
          <c:val>
            <c:numRef>
              <c:f>Sheet1!$B$2:$B$11</c:f>
              <c:numCache>
                <c:formatCode>General</c:formatCode>
                <c:ptCount val="10"/>
                <c:pt idx="0">
                  <c:v>8.2008618058319938E-2</c:v>
                </c:pt>
                <c:pt idx="1">
                  <c:v>5.839054803224733E-2</c:v>
                </c:pt>
                <c:pt idx="2">
                  <c:v>4.8468983826226615E-2</c:v>
                </c:pt>
                <c:pt idx="3">
                  <c:v>4.8465418508674023E-2</c:v>
                </c:pt>
                <c:pt idx="4">
                  <c:v>4.3026484267955606E-2</c:v>
                </c:pt>
                <c:pt idx="5">
                  <c:v>3.762274448088173E-2</c:v>
                </c:pt>
                <c:pt idx="6">
                  <c:v>3.7266316772098095E-2</c:v>
                </c:pt>
                <c:pt idx="7">
                  <c:v>3.2160967478221648E-2</c:v>
                </c:pt>
                <c:pt idx="8">
                  <c:v>3.1688687184809092E-2</c:v>
                </c:pt>
                <c:pt idx="9">
                  <c:v>2.873300305216887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5.10276349863638</c:v>
                </c:pt>
                <c:pt idx="1">
                  <c:v>112.68041637566628</c:v>
                </c:pt>
                <c:pt idx="2">
                  <c:v>110.75676527026059</c:v>
                </c:pt>
                <c:pt idx="3">
                  <c:v>108.93349978822431</c:v>
                </c:pt>
                <c:pt idx="4">
                  <c:v>107.20063643220126</c:v>
                </c:pt>
                <c:pt idx="5">
                  <c:v>106.02087424959362</c:v>
                </c:pt>
                <c:pt idx="6">
                  <c:v>104.90008239270685</c:v>
                </c:pt>
                <c:pt idx="7">
                  <c:v>103.83235307926803</c:v>
                </c:pt>
                <c:pt idx="8">
                  <c:v>102.81260091494471</c:v>
                </c:pt>
                <c:pt idx="9">
                  <c:v>101.83642675634155</c:v>
                </c:pt>
                <c:pt idx="10">
                  <c:v>100.90000650948502</c:v>
                </c:pt>
                <c:pt idx="11">
                  <c:v>100</c:v>
                </c:pt>
                <c:pt idx="12">
                  <c:v>97.54189562696601</c:v>
                </c:pt>
                <c:pt idx="13">
                  <c:v>95.227106752545879</c:v>
                </c:pt>
                <c:pt idx="14">
                  <c:v>93.042712107498943</c:v>
                </c:pt>
                <c:pt idx="15">
                  <c:v>90.97726110693975</c:v>
                </c:pt>
                <c:pt idx="16">
                  <c:v>89.020580171229909</c:v>
                </c:pt>
                <c:pt idx="17">
                  <c:v>87.163607137376815</c:v>
                </c:pt>
                <c:pt idx="18">
                  <c:v>85.398249467132274</c:v>
                </c:pt>
                <c:pt idx="19">
                  <c:v>83.717262606183496</c:v>
                </c:pt>
                <c:pt idx="20">
                  <c:v>82.1141454150127</c:v>
                </c:pt>
                <c:pt idx="21">
                  <c:v>80.952447557230627</c:v>
                </c:pt>
                <c:pt idx="22">
                  <c:v>79.816296036686623</c:v>
                </c:pt>
                <c:pt idx="23">
                  <c:v>78.704840425735583</c:v>
                </c:pt>
                <c:pt idx="24">
                  <c:v>77.617271524289691</c:v>
                </c:pt>
                <c:pt idx="25">
                  <c:v>76.552818673460621</c:v>
                </c:pt>
                <c:pt idx="26">
                  <c:v>75.510747280861551</c:v>
                </c:pt>
                <c:pt idx="27">
                  <c:v>74.4903565390999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8.734159265507017</c:v>
                </c:pt>
                <c:pt idx="1">
                  <c:v>98.112988762841042</c:v>
                </c:pt>
                <c:pt idx="2">
                  <c:v>97.868658658378109</c:v>
                </c:pt>
                <c:pt idx="3">
                  <c:v>97.664646358050163</c:v>
                </c:pt>
                <c:pt idx="4">
                  <c:v>97.495755237270728</c:v>
                </c:pt>
                <c:pt idx="5">
                  <c:v>97.794133190025477</c:v>
                </c:pt>
                <c:pt idx="6">
                  <c:v>98.117091053642497</c:v>
                </c:pt>
                <c:pt idx="7">
                  <c:v>98.461315022299502</c:v>
                </c:pt>
                <c:pt idx="8">
                  <c:v>98.823976366793715</c:v>
                </c:pt>
                <c:pt idx="9">
                  <c:v>99.202651942208234</c:v>
                </c:pt>
                <c:pt idx="10">
                  <c:v>99.595258757867427</c:v>
                </c:pt>
                <c:pt idx="11">
                  <c:v>100</c:v>
                </c:pt>
                <c:pt idx="12">
                  <c:v>98.798930460920204</c:v>
                </c:pt>
                <c:pt idx="13">
                  <c:v>97.681702347246883</c:v>
                </c:pt>
                <c:pt idx="14">
                  <c:v>96.640406297203285</c:v>
                </c:pt>
                <c:pt idx="15">
                  <c:v>95.668018022545525</c:v>
                </c:pt>
                <c:pt idx="16">
                  <c:v>94.758286100274333</c:v>
                </c:pt>
                <c:pt idx="17">
                  <c:v>93.905635207129805</c:v>
                </c:pt>
                <c:pt idx="18">
                  <c:v>93.10508261760593</c:v>
                </c:pt>
                <c:pt idx="19">
                  <c:v>92.352166065549852</c:v>
                </c:pt>
                <c:pt idx="20">
                  <c:v>91.642881330833674</c:v>
                </c:pt>
                <c:pt idx="21">
                  <c:v>91.391351893304432</c:v>
                </c:pt>
                <c:pt idx="22">
                  <c:v>91.139007542050962</c:v>
                </c:pt>
                <c:pt idx="23">
                  <c:v>90.885855791053373</c:v>
                </c:pt>
                <c:pt idx="24">
                  <c:v>90.631908347654218</c:v>
                </c:pt>
                <c:pt idx="25">
                  <c:v>90.377180604243307</c:v>
                </c:pt>
                <c:pt idx="26">
                  <c:v>90.121691174423745</c:v>
                </c:pt>
                <c:pt idx="27">
                  <c:v>89.8654614704986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3.327752829039113</c:v>
                </c:pt>
                <c:pt idx="1">
                  <c:v>93.301549303438136</c:v>
                </c:pt>
                <c:pt idx="2">
                  <c:v>93.613532839081188</c:v>
                </c:pt>
                <c:pt idx="3">
                  <c:v>93.945924271494363</c:v>
                </c:pt>
                <c:pt idx="4">
                  <c:v>94.295121301813793</c:v>
                </c:pt>
                <c:pt idx="5">
                  <c:v>95.080741997430678</c:v>
                </c:pt>
                <c:pt idx="6">
                  <c:v>95.879682850621677</c:v>
                </c:pt>
                <c:pt idx="7">
                  <c:v>96.689485018108357</c:v>
                </c:pt>
                <c:pt idx="8">
                  <c:v>97.508063204048341</c:v>
                </c:pt>
                <c:pt idx="9">
                  <c:v>98.33364492308587</c:v>
                </c:pt>
                <c:pt idx="10">
                  <c:v>99.164720222278447</c:v>
                </c:pt>
                <c:pt idx="11">
                  <c:v>100</c:v>
                </c:pt>
                <c:pt idx="12">
                  <c:v>99.219428857785942</c:v>
                </c:pt>
                <c:pt idx="13">
                  <c:v>98.502553370133995</c:v>
                </c:pt>
                <c:pt idx="14">
                  <c:v>97.843179858593047</c:v>
                </c:pt>
                <c:pt idx="15">
                  <c:v>97.235797616811965</c:v>
                </c:pt>
                <c:pt idx="16">
                  <c:v>96.675495041616529</c:v>
                </c:pt>
                <c:pt idx="17">
                  <c:v>96.157886767759365</c:v>
                </c:pt>
                <c:pt idx="18">
                  <c:v>95.679050377336694</c:v>
                </c:pt>
                <c:pt idx="19">
                  <c:v>95.235471401488581</c:v>
                </c:pt>
                <c:pt idx="20">
                  <c:v>94.823995484236491</c:v>
                </c:pt>
                <c:pt idx="21">
                  <c:v>94.874713473900343</c:v>
                </c:pt>
                <c:pt idx="22">
                  <c:v>94.915852684839351</c:v>
                </c:pt>
                <c:pt idx="23">
                  <c:v>94.947705224527368</c:v>
                </c:pt>
                <c:pt idx="24">
                  <c:v>94.970555142559931</c:v>
                </c:pt>
                <c:pt idx="25">
                  <c:v>94.984678642668484</c:v>
                </c:pt>
                <c:pt idx="26">
                  <c:v>94.990344283794371</c:v>
                </c:pt>
                <c:pt idx="27">
                  <c:v>94.9878131721527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71433377037211498</c:v>
                </c:pt>
                <c:pt idx="1">
                  <c:v>0.71859744544118775</c:v>
                </c:pt>
                <c:pt idx="2">
                  <c:v>0.72273571830234684</c:v>
                </c:pt>
                <c:pt idx="3">
                  <c:v>0.72675404122550125</c:v>
                </c:pt>
                <c:pt idx="4">
                  <c:v>0.73065755492227991</c:v>
                </c:pt>
                <c:pt idx="5">
                  <c:v>0.73445111048675471</c:v>
                </c:pt>
                <c:pt idx="6">
                  <c:v>0.73813928950777208</c:v>
                </c:pt>
                <c:pt idx="7">
                  <c:v>0.74172642252821352</c:v>
                </c:pt>
                <c:pt idx="8">
                  <c:v>0.7452166060075619</c:v>
                </c:pt>
                <c:pt idx="9">
                  <c:v>0.74861371792746101</c:v>
                </c:pt>
                <c:pt idx="10">
                  <c:v>0.75192143216525764</c:v>
                </c:pt>
                <c:pt idx="11">
                  <c:v>0.75514323174752718</c:v>
                </c:pt>
                <c:pt idx="12">
                  <c:v>0.75828242108409716</c:v>
                </c:pt>
                <c:pt idx="13">
                  <c:v>0.76134213727290623</c:v>
                </c:pt>
                <c:pt idx="14">
                  <c:v>0.76432536055699474</c:v>
                </c:pt>
                <c:pt idx="15">
                  <c:v>0.76723492400690851</c:v>
                </c:pt>
                <c:pt idx="16">
                  <c:v>0.77007352249462913</c:v>
                </c:pt>
                <c:pt idx="17">
                  <c:v>0.77284372101879006</c:v>
                </c:pt>
                <c:pt idx="18">
                  <c:v>0.77554796243523316</c:v>
                </c:pt>
                <c:pt idx="19">
                  <c:v>0.77818857464187741</c:v>
                </c:pt>
                <c:pt idx="20">
                  <c:v>0.78076777726232072</c:v>
                </c:pt>
                <c:pt idx="21">
                  <c:v>0.783287687868501</c:v>
                </c:pt>
                <c:pt idx="22">
                  <c:v>0.78575032777908616</c:v>
                </c:pt>
                <c:pt idx="23">
                  <c:v>0.78815762746696161</c:v>
                </c:pt>
                <c:pt idx="24">
                  <c:v>0.79051143160621751</c:v>
                </c:pt>
                <c:pt idx="25">
                  <c:v>0.79281350378636906</c:v>
                </c:pt>
                <c:pt idx="26">
                  <c:v>0.79506553091912591</c:v>
                </c:pt>
                <c:pt idx="27">
                  <c:v>0.79726912736085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qua Protect Sport Lotion FPS50+ 236ml (3.1%)</c:v>
                </c:pt>
                <c:pt idx="8">
                  <c:v>Banana Boat Aqua Protect Cream FPS50+ 236ml (2.7%)</c:v>
                </c:pt>
                <c:pt idx="9">
                  <c:v>Banana Boat Advanced Protection Lotion FPS50+ 240ml (2.8%)</c:v>
                </c:pt>
              </c:strCache>
            </c:strRef>
          </c:cat>
          <c:val>
            <c:numRef>
              <c:f>Sheet1!$B$2:$B$11</c:f>
              <c:numCache>
                <c:formatCode>General</c:formatCode>
                <c:ptCount val="10"/>
                <c:pt idx="0">
                  <c:v>8.7145120105106624E-2</c:v>
                </c:pt>
                <c:pt idx="1">
                  <c:v>6.890100005579361E-2</c:v>
                </c:pt>
                <c:pt idx="2">
                  <c:v>5.0832625317474296E-2</c:v>
                </c:pt>
                <c:pt idx="3">
                  <c:v>4.9697988530796863E-2</c:v>
                </c:pt>
                <c:pt idx="4">
                  <c:v>4.5591696076043159E-2</c:v>
                </c:pt>
                <c:pt idx="5">
                  <c:v>4.2078687933204233E-2</c:v>
                </c:pt>
                <c:pt idx="6">
                  <c:v>4.1889627766186606E-2</c:v>
                </c:pt>
                <c:pt idx="7">
                  <c:v>3.6743806568491966E-2</c:v>
                </c:pt>
                <c:pt idx="8">
                  <c:v>3.4277049026956947E-2</c:v>
                </c:pt>
                <c:pt idx="9">
                  <c:v>3.421857674429415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Cream FPS50+ 236ml (2.7%)</c:v>
                </c:pt>
              </c:strCache>
            </c:strRef>
          </c:cat>
          <c:val>
            <c:numRef>
              <c:f>Sheet1!$B$2:$B$11</c:f>
              <c:numCache>
                <c:formatCode>General</c:formatCode>
                <c:ptCount val="10"/>
                <c:pt idx="0">
                  <c:v>6.7710086344853829E-2</c:v>
                </c:pt>
                <c:pt idx="1">
                  <c:v>6.6275125159735632E-2</c:v>
                </c:pt>
                <c:pt idx="2">
                  <c:v>4.7643092900261259E-2</c:v>
                </c:pt>
                <c:pt idx="3">
                  <c:v>4.1750240419136608E-2</c:v>
                </c:pt>
                <c:pt idx="4">
                  <c:v>3.9161405974009487E-2</c:v>
                </c:pt>
                <c:pt idx="5">
                  <c:v>3.5036968557311726E-2</c:v>
                </c:pt>
                <c:pt idx="6">
                  <c:v>3.4150694705498037E-2</c:v>
                </c:pt>
                <c:pt idx="7">
                  <c:v>2.4991211572638002E-2</c:v>
                </c:pt>
                <c:pt idx="8">
                  <c:v>2.3820877523105164E-2</c:v>
                </c:pt>
                <c:pt idx="9">
                  <c:v>2.371327007662504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3.61906610533632</c:v>
                </c:pt>
                <c:pt idx="1">
                  <c:v>137.50053911221084</c:v>
                </c:pt>
                <c:pt idx="2">
                  <c:v>132.38373140195296</c:v>
                </c:pt>
                <c:pt idx="3">
                  <c:v>128.02822223955474</c:v>
                </c:pt>
                <c:pt idx="4">
                  <c:v>121.63071142286319</c:v>
                </c:pt>
                <c:pt idx="5">
                  <c:v>116.15614005975988</c:v>
                </c:pt>
                <c:pt idx="6">
                  <c:v>111.41658529361631</c:v>
                </c:pt>
                <c:pt idx="7">
                  <c:v>107.26778656337292</c:v>
                </c:pt>
                <c:pt idx="8">
                  <c:v>104.70728137754917</c:v>
                </c:pt>
                <c:pt idx="9">
                  <c:v>102.28903369392354</c:v>
                </c:pt>
                <c:pt idx="10">
                  <c:v>100</c:v>
                </c:pt>
                <c:pt idx="11">
                  <c:v>97.719211203683415</c:v>
                </c:pt>
                <c:pt idx="12">
                  <c:v>95.615542067789534</c:v>
                </c:pt>
                <c:pt idx="13">
                  <c:v>93.665886642206218</c:v>
                </c:pt>
                <c:pt idx="14">
                  <c:v>91.850829723662457</c:v>
                </c:pt>
                <c:pt idx="15">
                  <c:v>90.154010019143399</c:v>
                </c:pt>
                <c:pt idx="16">
                  <c:v>88.561593697069114</c:v>
                </c:pt>
                <c:pt idx="17">
                  <c:v>87.061840832874921</c:v>
                </c:pt>
                <c:pt idx="18">
                  <c:v>83.809865808011793</c:v>
                </c:pt>
                <c:pt idx="19">
                  <c:v>80.790775821716863</c:v>
                </c:pt>
                <c:pt idx="20">
                  <c:v>77.98352907295768</c:v>
                </c:pt>
                <c:pt idx="21">
                  <c:v>75.369185428675024</c:v>
                </c:pt>
                <c:pt idx="22">
                  <c:v>72.930669208672015</c:v>
                </c:pt>
                <c:pt idx="23">
                  <c:v>70.652564830715519</c:v>
                </c:pt>
                <c:pt idx="24">
                  <c:v>68.520940153565888</c:v>
                </c:pt>
                <c:pt idx="25">
                  <c:v>66.523192906847498</c:v>
                </c:pt>
                <c:pt idx="26">
                  <c:v>64.64791628095389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3.19877497781427</c:v>
                </c:pt>
                <c:pt idx="1">
                  <c:v>119.90253077659246</c:v>
                </c:pt>
                <c:pt idx="2">
                  <c:v>117.32087702402359</c:v>
                </c:pt>
                <c:pt idx="3">
                  <c:v>115.27977311281821</c:v>
                </c:pt>
                <c:pt idx="4">
                  <c:v>111.24979288106441</c:v>
                </c:pt>
                <c:pt idx="5">
                  <c:v>107.89514398828246</c:v>
                </c:pt>
                <c:pt idx="6">
                  <c:v>105.07796679192739</c:v>
                </c:pt>
                <c:pt idx="7">
                  <c:v>102.69151390753318</c:v>
                </c:pt>
                <c:pt idx="8">
                  <c:v>101.72920030494011</c:v>
                </c:pt>
                <c:pt idx="9">
                  <c:v>100.83435732776375</c:v>
                </c:pt>
                <c:pt idx="10">
                  <c:v>100</c:v>
                </c:pt>
                <c:pt idx="11">
                  <c:v>99.110033079395436</c:v>
                </c:pt>
                <c:pt idx="12">
                  <c:v>98.337298287347849</c:v>
                </c:pt>
                <c:pt idx="13">
                  <c:v>97.66526222590204</c:v>
                </c:pt>
                <c:pt idx="14">
                  <c:v>97.079978115874539</c:v>
                </c:pt>
                <c:pt idx="15">
                  <c:v>96.569665938114497</c:v>
                </c:pt>
                <c:pt idx="16">
                  <c:v>96.124358106976544</c:v>
                </c:pt>
                <c:pt idx="17">
                  <c:v>95.735602407857883</c:v>
                </c:pt>
                <c:pt idx="18">
                  <c:v>93.350589919222742</c:v>
                </c:pt>
                <c:pt idx="19">
                  <c:v>91.136033920234894</c:v>
                </c:pt>
                <c:pt idx="20">
                  <c:v>89.077793222217039</c:v>
                </c:pt>
                <c:pt idx="21">
                  <c:v>87.162967643383212</c:v>
                </c:pt>
                <c:pt idx="22">
                  <c:v>85.37976832008151</c:v>
                </c:pt>
                <c:pt idx="23">
                  <c:v>83.717407001505634</c:v>
                </c:pt>
                <c:pt idx="24">
                  <c:v>82.166001349322741</c:v>
                </c:pt>
                <c:pt idx="25">
                  <c:v>80.716493357085511</c:v>
                </c:pt>
                <c:pt idx="26">
                  <c:v>79.3605783294950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4.45203050395156</c:v>
                </c:pt>
                <c:pt idx="1">
                  <c:v>112.36853606117729</c:v>
                </c:pt>
                <c:pt idx="2">
                  <c:v>110.87549514026939</c:v>
                </c:pt>
                <c:pt idx="3">
                  <c:v>109.82769586018813</c:v>
                </c:pt>
                <c:pt idx="4">
                  <c:v>106.80980754221643</c:v>
                </c:pt>
                <c:pt idx="5">
                  <c:v>104.36129149154256</c:v>
                </c:pt>
                <c:pt idx="6">
                  <c:v>102.36572151078079</c:v>
                </c:pt>
                <c:pt idx="7">
                  <c:v>100.73240772875309</c:v>
                </c:pt>
                <c:pt idx="8">
                  <c:v>100.45436275541687</c:v>
                </c:pt>
                <c:pt idx="9">
                  <c:v>100.21168563124105</c:v>
                </c:pt>
                <c:pt idx="10">
                  <c:v>100</c:v>
                </c:pt>
                <c:pt idx="11">
                  <c:v>99.703752524977602</c:v>
                </c:pt>
                <c:pt idx="12">
                  <c:v>99.499179519507081</c:v>
                </c:pt>
                <c:pt idx="13">
                  <c:v>99.372558446473718</c:v>
                </c:pt>
                <c:pt idx="14">
                  <c:v>99.312280332460844</c:v>
                </c:pt>
                <c:pt idx="15">
                  <c:v>99.308523034523049</c:v>
                </c:pt>
                <c:pt idx="16">
                  <c:v>99.352970746060294</c:v>
                </c:pt>
                <c:pt idx="17">
                  <c:v>99.43857545432455</c:v>
                </c:pt>
                <c:pt idx="18">
                  <c:v>97.426360642906076</c:v>
                </c:pt>
                <c:pt idx="19">
                  <c:v>95.557510829132198</c:v>
                </c:pt>
                <c:pt idx="20">
                  <c:v>93.820899628788524</c:v>
                </c:pt>
                <c:pt idx="21">
                  <c:v>92.206262508235881</c:v>
                </c:pt>
                <c:pt idx="22">
                  <c:v>90.704115168962545</c:v>
                </c:pt>
                <c:pt idx="23">
                  <c:v>89.305684562783469</c:v>
                </c:pt>
                <c:pt idx="24">
                  <c:v>88.002850579073197</c:v>
                </c:pt>
                <c:pt idx="25">
                  <c:v>86.788096325820291</c:v>
                </c:pt>
                <c:pt idx="26">
                  <c:v>85.654465083759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40033302671191</c:v>
                </c:pt>
                <c:pt idx="1">
                  <c:v>0.65967540682011727</c:v>
                </c:pt>
                <c:pt idx="2">
                  <c:v>0.66516451316172831</c:v>
                </c:pt>
                <c:pt idx="3">
                  <c:v>0.67047936215916104</c:v>
                </c:pt>
                <c:pt idx="4">
                  <c:v>0.67562812212542411</c:v>
                </c:pt>
                <c:pt idx="5">
                  <c:v>0.68061845870810989</c:v>
                </c:pt>
                <c:pt idx="6">
                  <c:v>0.68545757297010834</c:v>
                </c:pt>
                <c:pt idx="7">
                  <c:v>0.69015223606010667</c:v>
                </c:pt>
                <c:pt idx="8">
                  <c:v>0.69470882082392871</c:v>
                </c:pt>
                <c:pt idx="9">
                  <c:v>0.69913333066706007</c:v>
                </c:pt>
                <c:pt idx="10">
                  <c:v>0.70343142594324493</c:v>
                </c:pt>
                <c:pt idx="11">
                  <c:v>0.70760844811305845</c:v>
                </c:pt>
                <c:pt idx="12">
                  <c:v>0.71166944188926584</c:v>
                </c:pt>
                <c:pt idx="13">
                  <c:v>0.71561917556201582</c:v>
                </c:pt>
                <c:pt idx="14">
                  <c:v>0.71946215967604255</c:v>
                </c:pt>
                <c:pt idx="15">
                  <c:v>0.72320266421369528</c:v>
                </c:pt>
                <c:pt idx="16">
                  <c:v>0.72684473442140995</c:v>
                </c:pt>
                <c:pt idx="17">
                  <c:v>0.7303922054029498</c:v>
                </c:pt>
                <c:pt idx="18">
                  <c:v>0.73384871559009168</c:v>
                </c:pt>
                <c:pt idx="19">
                  <c:v>0.73721771919021706</c:v>
                </c:pt>
                <c:pt idx="20">
                  <c:v>0.74050249770033938</c:v>
                </c:pt>
                <c:pt idx="21">
                  <c:v>0.74370617056823651</c:v>
                </c:pt>
                <c:pt idx="22">
                  <c:v>0.74683170507350194</c:v>
                </c:pt>
                <c:pt idx="23">
                  <c:v>0.74988192549430299</c:v>
                </c:pt>
                <c:pt idx="24">
                  <c:v>0.75285952161937075</c:v>
                </c:pt>
                <c:pt idx="25">
                  <c:v>0.7557670566591429</c:v>
                </c:pt>
                <c:pt idx="26">
                  <c:v>0.758606974604966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Sport Lotion FPS50+ 236ml (3.1%)</c:v>
                </c:pt>
              </c:strCache>
            </c:strRef>
          </c:cat>
          <c:val>
            <c:numRef>
              <c:f>Sheet1!$B$2:$B$11</c:f>
              <c:numCache>
                <c:formatCode>General</c:formatCode>
                <c:ptCount val="10"/>
                <c:pt idx="0">
                  <c:v>9.9056279609424466E-2</c:v>
                </c:pt>
                <c:pt idx="1">
                  <c:v>8.3691960549898151E-2</c:v>
                </c:pt>
                <c:pt idx="2">
                  <c:v>7.8404832656276444E-2</c:v>
                </c:pt>
                <c:pt idx="3">
                  <c:v>5.3727300574208235E-2</c:v>
                </c:pt>
                <c:pt idx="4">
                  <c:v>5.0133655676962388E-2</c:v>
                </c:pt>
                <c:pt idx="5">
                  <c:v>4.8075662815136359E-2</c:v>
                </c:pt>
                <c:pt idx="6">
                  <c:v>4.1831359846726618E-2</c:v>
                </c:pt>
                <c:pt idx="7">
                  <c:v>3.6424646061217571E-2</c:v>
                </c:pt>
                <c:pt idx="8">
                  <c:v>3.5482674717082656E-2</c:v>
                </c:pt>
                <c:pt idx="9">
                  <c:v>3.21170205790789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Ozono Lotion FPS50+ 240ml (4.4%)</c:v>
                </c:pt>
                <c:pt idx="3">
                  <c:v>Hawaiian Tropic Island Sport Lotion FPS50 240ml (3.6%)</c:v>
                </c:pt>
                <c:pt idx="4">
                  <c:v>Hawaiian Tropic Sheer Touch Lotion FPS30 240ml (1.7%)</c:v>
                </c:pt>
                <c:pt idx="5">
                  <c:v>Nivea Sun Protection Sensitive Skin Gel FPS50+ 200ml (5.1%)</c:v>
                </c:pt>
                <c:pt idx="6">
                  <c:v>Nivea Sun Protection &amp; Hydration Lotion FPS50+ 125ml (4.5%)</c:v>
                </c:pt>
                <c:pt idx="7">
                  <c:v>Banana Boat Advanced Protection Lotion FPS50+ 240ml (2.8%)</c:v>
                </c:pt>
                <c:pt idx="8">
                  <c:v>Nivea Sun Protect &amp; Refresh Sport Lotion FPS50 200ml (5.8%)</c:v>
                </c:pt>
                <c:pt idx="9">
                  <c:v>Hawaiian Tropic Silk Hydration Lotion FPS50 180ml (1.0%)</c:v>
                </c:pt>
              </c:strCache>
            </c:strRef>
          </c:cat>
          <c:val>
            <c:numRef>
              <c:f>Sheet1!$B$2:$B$11</c:f>
              <c:numCache>
                <c:formatCode>General</c:formatCode>
                <c:ptCount val="10"/>
                <c:pt idx="0">
                  <c:v>9.9029746467752505E-2</c:v>
                </c:pt>
                <c:pt idx="1">
                  <c:v>9.8050984716824385E-2</c:v>
                </c:pt>
                <c:pt idx="2">
                  <c:v>9.5694750957749555E-2</c:v>
                </c:pt>
                <c:pt idx="3">
                  <c:v>6.76926399141701E-2</c:v>
                </c:pt>
                <c:pt idx="4">
                  <c:v>4.3069663677976426E-2</c:v>
                </c:pt>
                <c:pt idx="5">
                  <c:v>4.135337307955355E-2</c:v>
                </c:pt>
                <c:pt idx="6">
                  <c:v>3.5747823637044519E-2</c:v>
                </c:pt>
                <c:pt idx="7">
                  <c:v>3.4633327712798465E-2</c:v>
                </c:pt>
                <c:pt idx="8">
                  <c:v>2.9983254748547863E-2</c:v>
                </c:pt>
                <c:pt idx="9">
                  <c:v>2.79688309693715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51.15610457802629</c:v>
                </c:pt>
                <c:pt idx="1">
                  <c:v>146.29729736206068</c:v>
                </c:pt>
                <c:pt idx="2">
                  <c:v>142.05749974114866</c:v>
                </c:pt>
                <c:pt idx="3">
                  <c:v>138.32111219871956</c:v>
                </c:pt>
                <c:pt idx="4">
                  <c:v>129.40820298501973</c:v>
                </c:pt>
                <c:pt idx="5">
                  <c:v>121.49147422598506</c:v>
                </c:pt>
                <c:pt idx="6">
                  <c:v>114.48153939770751</c:v>
                </c:pt>
                <c:pt idx="7">
                  <c:v>108.28213002274339</c:v>
                </c:pt>
                <c:pt idx="8">
                  <c:v>105.38057926455906</c:v>
                </c:pt>
                <c:pt idx="9">
                  <c:v>102.62329069219062</c:v>
                </c:pt>
                <c:pt idx="10">
                  <c:v>100</c:v>
                </c:pt>
                <c:pt idx="11">
                  <c:v>96.342187076578384</c:v>
                </c:pt>
                <c:pt idx="12">
                  <c:v>92.988422344296396</c:v>
                </c:pt>
                <c:pt idx="13">
                  <c:v>89.912101840768614</c:v>
                </c:pt>
                <c:pt idx="14">
                  <c:v>87.086926149472106</c:v>
                </c:pt>
                <c:pt idx="15">
                  <c:v>84.487765137005169</c:v>
                </c:pt>
                <c:pt idx="16">
                  <c:v>82.091205680950125</c:v>
                </c:pt>
                <c:pt idx="17">
                  <c:v>79.875835289646545</c:v>
                </c:pt>
                <c:pt idx="18">
                  <c:v>76.495159572291456</c:v>
                </c:pt>
                <c:pt idx="19">
                  <c:v>73.366037032678435</c:v>
                </c:pt>
                <c:pt idx="20">
                  <c:v>70.468342829960349</c:v>
                </c:pt>
                <c:pt idx="21">
                  <c:v>67.782744834941425</c:v>
                </c:pt>
                <c:pt idx="22">
                  <c:v>65.290925232429331</c:v>
                </c:pt>
                <c:pt idx="23">
                  <c:v>62.975737388174579</c:v>
                </c:pt>
                <c:pt idx="24">
                  <c:v>60.821298522054057</c:v>
                </c:pt>
                <c:pt idx="25">
                  <c:v>58.81302520511548</c:v>
                </c:pt>
                <c:pt idx="26">
                  <c:v>56.9376222924449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30.61256811041224</c:v>
                </c:pt>
                <c:pt idx="1">
                  <c:v>128.39199505308406</c:v>
                </c:pt>
                <c:pt idx="2">
                  <c:v>126.59823253720084</c:v>
                </c:pt>
                <c:pt idx="3">
                  <c:v>125.14989260314999</c:v>
                </c:pt>
                <c:pt idx="4">
                  <c:v>118.8231686819537</c:v>
                </c:pt>
                <c:pt idx="5">
                  <c:v>113.19261569430637</c:v>
                </c:pt>
                <c:pt idx="6">
                  <c:v>108.21176356510401</c:v>
                </c:pt>
                <c:pt idx="7">
                  <c:v>103.82325187459733</c:v>
                </c:pt>
                <c:pt idx="8">
                  <c:v>102.48664225119957</c:v>
                </c:pt>
                <c:pt idx="9">
                  <c:v>101.21371679242226</c:v>
                </c:pt>
                <c:pt idx="10">
                  <c:v>100</c:v>
                </c:pt>
                <c:pt idx="11">
                  <c:v>97.667505141032848</c:v>
                </c:pt>
                <c:pt idx="12">
                  <c:v>95.548459587233552</c:v>
                </c:pt>
                <c:pt idx="13">
                  <c:v>93.627344969316738</c:v>
                </c:pt>
                <c:pt idx="14">
                  <c:v>91.887570147780991</c:v>
                </c:pt>
                <c:pt idx="15">
                  <c:v>90.312405143793612</c:v>
                </c:pt>
                <c:pt idx="16">
                  <c:v>88.885644054507992</c:v>
                </c:pt>
                <c:pt idx="17">
                  <c:v>87.592024903779802</c:v>
                </c:pt>
                <c:pt idx="18">
                  <c:v>84.923735789344363</c:v>
                </c:pt>
                <c:pt idx="19">
                  <c:v>82.448373087576613</c:v>
                </c:pt>
                <c:pt idx="20">
                  <c:v>80.152872410066877</c:v>
                </c:pt>
                <c:pt idx="21">
                  <c:v>78.024064681239963</c:v>
                </c:pt>
                <c:pt idx="22">
                  <c:v>76.048976067944409</c:v>
                </c:pt>
                <c:pt idx="23">
                  <c:v>74.215070929814203</c:v>
                </c:pt>
                <c:pt idx="24">
                  <c:v>72.510432402467487</c:v>
                </c:pt>
                <c:pt idx="25">
                  <c:v>70.923882974819733</c:v>
                </c:pt>
                <c:pt idx="26">
                  <c:v>69.4450524839979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20.24044632467752</c:v>
                </c:pt>
                <c:pt idx="1">
                  <c:v>119.36759091630226</c:v>
                </c:pt>
                <c:pt idx="2">
                  <c:v>118.81370881873569</c:v>
                </c:pt>
                <c:pt idx="3">
                  <c:v>118.51773229469509</c:v>
                </c:pt>
                <c:pt idx="4">
                  <c:v>113.52764113870786</c:v>
                </c:pt>
                <c:pt idx="5">
                  <c:v>109.06726910257478</c:v>
                </c:pt>
                <c:pt idx="6">
                  <c:v>105.11566652550776</c:v>
                </c:pt>
                <c:pt idx="7">
                  <c:v>101.63811123949972</c:v>
                </c:pt>
                <c:pt idx="8">
                  <c:v>101.06992309334062</c:v>
                </c:pt>
                <c:pt idx="9">
                  <c:v>100.52435688284773</c:v>
                </c:pt>
                <c:pt idx="10">
                  <c:v>100</c:v>
                </c:pt>
                <c:pt idx="11">
                  <c:v>98.312654719519102</c:v>
                </c:pt>
                <c:pt idx="12">
                  <c:v>96.792169860468263</c:v>
                </c:pt>
                <c:pt idx="13">
                  <c:v>95.428964995801664</c:v>
                </c:pt>
                <c:pt idx="14">
                  <c:v>94.211612657338264</c:v>
                </c:pt>
                <c:pt idx="15">
                  <c:v>93.127822648597572</c:v>
                </c:pt>
                <c:pt idx="16">
                  <c:v>92.165176563657937</c:v>
                </c:pt>
                <c:pt idx="17">
                  <c:v>91.311627601088048</c:v>
                </c:pt>
                <c:pt idx="18">
                  <c:v>89.011482180494596</c:v>
                </c:pt>
                <c:pt idx="19">
                  <c:v>86.870906063095916</c:v>
                </c:pt>
                <c:pt idx="20">
                  <c:v>84.881093216011124</c:v>
                </c:pt>
                <c:pt idx="21">
                  <c:v>83.032562225414111</c:v>
                </c:pt>
                <c:pt idx="22">
                  <c:v>81.315513353424066</c:v>
                </c:pt>
                <c:pt idx="23">
                  <c:v>79.720130841649535</c:v>
                </c:pt>
                <c:pt idx="24">
                  <c:v>78.236821889996861</c:v>
                </c:pt>
                <c:pt idx="25">
                  <c:v>76.8563922907137</c:v>
                </c:pt>
                <c:pt idx="26">
                  <c:v>75.5701646164536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1761915017651</c:v>
                </c:pt>
                <c:pt idx="1">
                  <c:v>0.653984543426403</c:v>
                </c:pt>
                <c:pt idx="2">
                  <c:v>0.65956543788726751</c:v>
                </c:pt>
                <c:pt idx="3">
                  <c:v>0.66496916109540627</c:v>
                </c:pt>
                <c:pt idx="4">
                  <c:v>0.67020401795329032</c:v>
                </c:pt>
                <c:pt idx="5">
                  <c:v>0.67527780229247047</c:v>
                </c:pt>
                <c:pt idx="6">
                  <c:v>0.6801978355910695</c:v>
                </c:pt>
                <c:pt idx="7">
                  <c:v>0.68497100222403862</c:v>
                </c:pt>
                <c:pt idx="8">
                  <c:v>0.68960378160309688</c:v>
                </c:pt>
                <c:pt idx="9">
                  <c:v>0.69410227752189257</c:v>
                </c:pt>
                <c:pt idx="10">
                  <c:v>0.69847224498586558</c:v>
                </c:pt>
                <c:pt idx="11">
                  <c:v>0.70271911477479698</c:v>
                </c:pt>
                <c:pt idx="12">
                  <c:v>0.70684801595848057</c:v>
                </c:pt>
                <c:pt idx="13">
                  <c:v>0.71086379656178877</c:v>
                </c:pt>
                <c:pt idx="14">
                  <c:v>0.71477104255419699</c:v>
                </c:pt>
                <c:pt idx="15">
                  <c:v>0.71857409532014127</c:v>
                </c:pt>
                <c:pt idx="16">
                  <c:v>0.72227706775013922</c:v>
                </c:pt>
                <c:pt idx="17">
                  <c:v>0.72588385907805963</c:v>
                </c:pt>
                <c:pt idx="18">
                  <c:v>0.72939816857705886</c:v>
                </c:pt>
                <c:pt idx="19">
                  <c:v>0.73282350821532372</c:v>
                </c:pt>
                <c:pt idx="20">
                  <c:v>0.73616321436263232</c:v>
                </c:pt>
                <c:pt idx="21">
                  <c:v>0.73942045862976036</c:v>
                </c:pt>
                <c:pt idx="22">
                  <c:v>0.74259825791476319</c:v>
                </c:pt>
                <c:pt idx="23">
                  <c:v>0.74569948372301909</c:v>
                </c:pt>
                <c:pt idx="24">
                  <c:v>0.74872687082155465</c:v>
                </c:pt>
                <c:pt idx="25">
                  <c:v>0.75168302528247743</c:v>
                </c:pt>
                <c:pt idx="26">
                  <c:v>0.754570431965239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43399816208037645</c:v>
                </c:pt>
                <c:pt idx="1">
                  <c:v>0.24582036449147132</c:v>
                </c:pt>
                <c:pt idx="2">
                  <c:v>0.12545551903920546</c:v>
                </c:pt>
                <c:pt idx="3">
                  <c:v>0.10448273950634922</c:v>
                </c:pt>
                <c:pt idx="4">
                  <c:v>2.4254673354699004E-2</c:v>
                </c:pt>
                <c:pt idx="5">
                  <c:v>2.3168265424140886E-2</c:v>
                </c:pt>
                <c:pt idx="6">
                  <c:v>1.2806255841047498E-2</c:v>
                </c:pt>
                <c:pt idx="7">
                  <c:v>9.546089724928767E-3</c:v>
                </c:pt>
                <c:pt idx="8">
                  <c:v>6.555308085941557E-3</c:v>
                </c:pt>
                <c:pt idx="9">
                  <c:v>5.1017780244389721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Island Sport Lotion FPS50 240ml (3.6%)</c:v>
                </c:pt>
                <c:pt idx="3">
                  <c:v>Banana Boat Advanced Protection Lotion FPS50+ 240ml (2.8%)</c:v>
                </c:pt>
                <c:pt idx="4">
                  <c:v>Hawaiian Tropic Sheer Touch Lotion FPS30 240ml (1.7%)</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Equate Sport Lotion FPS30 237ml (2.0%)</c:v>
                </c:pt>
              </c:strCache>
            </c:strRef>
          </c:cat>
          <c:val>
            <c:numRef>
              <c:f>Sheet1!$B$2:$B$11</c:f>
              <c:numCache>
                <c:formatCode>General</c:formatCode>
                <c:ptCount val="10"/>
                <c:pt idx="0">
                  <c:v>0.10813920196907559</c:v>
                </c:pt>
                <c:pt idx="1">
                  <c:v>9.5057948357324715E-2</c:v>
                </c:pt>
                <c:pt idx="2">
                  <c:v>6.5944132191829027E-2</c:v>
                </c:pt>
                <c:pt idx="3">
                  <c:v>5.8791534003782932E-2</c:v>
                </c:pt>
                <c:pt idx="4">
                  <c:v>5.8302261810764804E-2</c:v>
                </c:pt>
                <c:pt idx="5">
                  <c:v>4.9212861636708446E-2</c:v>
                </c:pt>
                <c:pt idx="6">
                  <c:v>4.6099477097015659E-2</c:v>
                </c:pt>
                <c:pt idx="7">
                  <c:v>4.1599164517806479E-2</c:v>
                </c:pt>
                <c:pt idx="8">
                  <c:v>4.0229557597482785E-2</c:v>
                </c:pt>
                <c:pt idx="9">
                  <c:v>3.954932161689785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Sheer Touch Lotion FPS30 240ml (1.7%)</c:v>
                </c:pt>
                <c:pt idx="4">
                  <c:v>Banana Boat Advanced Protection Lotion FPS50+ 240ml (2.8%)</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1842019880470257</c:v>
                </c:pt>
                <c:pt idx="1">
                  <c:v>0.11534886312269954</c:v>
                </c:pt>
                <c:pt idx="2">
                  <c:v>9.3776651445373033E-2</c:v>
                </c:pt>
                <c:pt idx="3">
                  <c:v>5.6137914934776392E-2</c:v>
                </c:pt>
                <c:pt idx="4">
                  <c:v>5.2748331940214548E-2</c:v>
                </c:pt>
                <c:pt idx="5">
                  <c:v>4.9253951314445946E-2</c:v>
                </c:pt>
                <c:pt idx="6">
                  <c:v>3.5847792232701306E-2</c:v>
                </c:pt>
                <c:pt idx="7">
                  <c:v>3.5130543004066199E-2</c:v>
                </c:pt>
                <c:pt idx="8">
                  <c:v>3.4038747872252056E-2</c:v>
                </c:pt>
                <c:pt idx="9">
                  <c:v>3.395242552669938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3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5</c:v>
                </c:pt>
                <c:pt idx="1">
                  <c:v>360</c:v>
                </c:pt>
                <c:pt idx="2">
                  <c:v>395</c:v>
                </c:pt>
                <c:pt idx="3">
                  <c:v>430</c:v>
                </c:pt>
                <c:pt idx="4">
                  <c:v>495</c:v>
                </c:pt>
              </c:numCache>
            </c:numRef>
          </c:xVal>
          <c:yVal>
            <c:numRef>
              <c:f>Sheet1!$B$2:$B$6</c:f>
              <c:numCache>
                <c:formatCode>General</c:formatCode>
                <c:ptCount val="5"/>
                <c:pt idx="0">
                  <c:v>0.53416090584499409</c:v>
                </c:pt>
                <c:pt idx="1">
                  <c:v>0.29329140772513579</c:v>
                </c:pt>
                <c:pt idx="2">
                  <c:v>0</c:v>
                </c:pt>
                <c:pt idx="3">
                  <c:v>-0.24970077895652801</c:v>
                </c:pt>
                <c:pt idx="4">
                  <c:v>-0.363154693159246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tick FPS50+ 42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15</c:v>
                </c:pt>
                <c:pt idx="1">
                  <c:v>225</c:v>
                </c:pt>
                <c:pt idx="2">
                  <c:v>240</c:v>
                </c:pt>
                <c:pt idx="3">
                  <c:v>270</c:v>
                </c:pt>
                <c:pt idx="4">
                  <c:v>290</c:v>
                </c:pt>
              </c:numCache>
            </c:numRef>
          </c:xVal>
          <c:yVal>
            <c:numRef>
              <c:f>Sheet1!$B$9:$B$13</c:f>
              <c:numCache>
                <c:formatCode>General</c:formatCode>
                <c:ptCount val="5"/>
                <c:pt idx="0">
                  <c:v>0.16085075636101692</c:v>
                </c:pt>
                <c:pt idx="1">
                  <c:v>7.8658626337304763E-2</c:v>
                </c:pt>
                <c:pt idx="2">
                  <c:v>0</c:v>
                </c:pt>
                <c:pt idx="3">
                  <c:v>-0.10765488442470464</c:v>
                </c:pt>
                <c:pt idx="4">
                  <c:v>-0.1729389856375867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Ultra-Light FPS50+ 1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5</c:v>
                </c:pt>
                <c:pt idx="1">
                  <c:v>260</c:v>
                </c:pt>
                <c:pt idx="2">
                  <c:v>275</c:v>
                </c:pt>
                <c:pt idx="3">
                  <c:v>305</c:v>
                </c:pt>
                <c:pt idx="4">
                  <c:v>330</c:v>
                </c:pt>
              </c:numCache>
            </c:numRef>
          </c:xVal>
          <c:yVal>
            <c:numRef>
              <c:f>Sheet1!$B$16:$B$20</c:f>
              <c:numCache>
                <c:formatCode>General</c:formatCode>
                <c:ptCount val="5"/>
                <c:pt idx="0">
                  <c:v>0.26670208348156366</c:v>
                </c:pt>
                <c:pt idx="1">
                  <c:v>0.1916262303349543</c:v>
                </c:pt>
                <c:pt idx="2">
                  <c:v>0</c:v>
                </c:pt>
                <c:pt idx="3">
                  <c:v>-0.22520162169235955</c:v>
                </c:pt>
                <c:pt idx="4">
                  <c:v>-0.3194881941243651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5"/>
          <c:min val="215"/>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B$2:$B$34</c:f>
              <c:numCache>
                <c:formatCode>General</c:formatCode>
                <c:ptCount val="33"/>
                <c:pt idx="0">
                  <c:v>153.41609058449933</c:v>
                </c:pt>
                <c:pt idx="1">
                  <c:v>148.67065575501528</c:v>
                </c:pt>
                <c:pt idx="2">
                  <c:v>144.22781855645067</c:v>
                </c:pt>
                <c:pt idx="3">
                  <c:v>140.05978487636193</c:v>
                </c:pt>
                <c:pt idx="4">
                  <c:v>134.4119893390486</c:v>
                </c:pt>
                <c:pt idx="5">
                  <c:v>129.32914077251365</c:v>
                </c:pt>
                <c:pt idx="6">
                  <c:v>124.73910920665017</c:v>
                </c:pt>
                <c:pt idx="7">
                  <c:v>120.57698747757837</c:v>
                </c:pt>
                <c:pt idx="8">
                  <c:v>116.78562865924303</c:v>
                </c:pt>
                <c:pt idx="9">
                  <c:v>113.3155237980247</c:v>
                </c:pt>
                <c:pt idx="10">
                  <c:v>110.12426489633181</c:v>
                </c:pt>
                <c:pt idx="11">
                  <c:v>104.84634744993421</c:v>
                </c:pt>
                <c:pt idx="12">
                  <c:v>100</c:v>
                </c:pt>
                <c:pt idx="13">
                  <c:v>95.54189322012617</c:v>
                </c:pt>
                <c:pt idx="14">
                  <c:v>91.433059157531261</c:v>
                </c:pt>
                <c:pt idx="15">
                  <c:v>87.638594541065004</c:v>
                </c:pt>
                <c:pt idx="16">
                  <c:v>84.127330438060881</c:v>
                </c:pt>
                <c:pt idx="17">
                  <c:v>80.871490179384537</c:v>
                </c:pt>
                <c:pt idx="18">
                  <c:v>77.846351285874746</c:v>
                </c:pt>
                <c:pt idx="19">
                  <c:v>75.029922104347207</c:v>
                </c:pt>
                <c:pt idx="20">
                  <c:v>73.990436121353753</c:v>
                </c:pt>
                <c:pt idx="21">
                  <c:v>72.973585013963501</c:v>
                </c:pt>
                <c:pt idx="22">
                  <c:v>71.978613789978766</c:v>
                </c:pt>
                <c:pt idx="23">
                  <c:v>71.004803858203218</c:v>
                </c:pt>
                <c:pt idx="24">
                  <c:v>70.051470732728376</c:v>
                </c:pt>
                <c:pt idx="25">
                  <c:v>69.117961909544206</c:v>
                </c:pt>
                <c:pt idx="26">
                  <c:v>68.20365490108405</c:v>
                </c:pt>
                <c:pt idx="27">
                  <c:v>67.409204917234433</c:v>
                </c:pt>
                <c:pt idx="28">
                  <c:v>66.632013045506</c:v>
                </c:pt>
                <c:pt idx="29">
                  <c:v>65.871494232132221</c:v>
                </c:pt>
                <c:pt idx="30">
                  <c:v>65.127091073803101</c:v>
                </c:pt>
                <c:pt idx="31">
                  <c:v>64.398272186562764</c:v>
                </c:pt>
                <c:pt idx="32">
                  <c:v>63.6845306840753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C$2:$C$34</c:f>
              <c:numCache>
                <c:formatCode>General</c:formatCode>
                <c:ptCount val="33"/>
                <c:pt idx="0">
                  <c:v>130.44205098217114</c:v>
                </c:pt>
                <c:pt idx="1">
                  <c:v>128.2614866845324</c:v>
                </c:pt>
                <c:pt idx="2">
                  <c:v>126.22820509886871</c:v>
                </c:pt>
                <c:pt idx="3">
                  <c:v>124.32870907101568</c:v>
                </c:pt>
                <c:pt idx="4">
                  <c:v>120.99200419934471</c:v>
                </c:pt>
                <c:pt idx="5">
                  <c:v>118.03128739708558</c:v>
                </c:pt>
                <c:pt idx="6">
                  <c:v>115.4006627510948</c:v>
                </c:pt>
                <c:pt idx="7">
                  <c:v>113.05747570990326</c:v>
                </c:pt>
                <c:pt idx="8">
                  <c:v>110.96326005082607</c:v>
                </c:pt>
                <c:pt idx="9">
                  <c:v>109.08409235234227</c:v>
                </c:pt>
                <c:pt idx="10">
                  <c:v>107.39053519008411</c:v>
                </c:pt>
                <c:pt idx="11">
                  <c:v>103.54429370675953</c:v>
                </c:pt>
                <c:pt idx="12">
                  <c:v>100</c:v>
                </c:pt>
                <c:pt idx="13">
                  <c:v>96.729547837453183</c:v>
                </c:pt>
                <c:pt idx="14">
                  <c:v>93.707210438114103</c:v>
                </c:pt>
                <c:pt idx="15">
                  <c:v>90.909591925409202</c:v>
                </c:pt>
                <c:pt idx="16">
                  <c:v>88.315523325652904</c:v>
                </c:pt>
                <c:pt idx="17">
                  <c:v>85.905923209262596</c:v>
                </c:pt>
                <c:pt idx="18">
                  <c:v>83.663638605314546</c:v>
                </c:pt>
                <c:pt idx="19">
                  <c:v>81.573277938812794</c:v>
                </c:pt>
                <c:pt idx="20">
                  <c:v>81.371487893182064</c:v>
                </c:pt>
                <c:pt idx="21">
                  <c:v>81.168792356548849</c:v>
                </c:pt>
                <c:pt idx="22">
                  <c:v>80.965194463449976</c:v>
                </c:pt>
                <c:pt idx="23">
                  <c:v>80.760700829313649</c:v>
                </c:pt>
                <c:pt idx="24">
                  <c:v>80.555321195151336</c:v>
                </c:pt>
                <c:pt idx="25">
                  <c:v>80.349068099790017</c:v>
                </c:pt>
                <c:pt idx="26">
                  <c:v>80.141956577857769</c:v>
                </c:pt>
                <c:pt idx="27">
                  <c:v>80.054875679713618</c:v>
                </c:pt>
                <c:pt idx="28">
                  <c:v>79.968556479252015</c:v>
                </c:pt>
                <c:pt idx="29">
                  <c:v>79.882939493178057</c:v>
                </c:pt>
                <c:pt idx="30">
                  <c:v>79.797969749513925</c:v>
                </c:pt>
                <c:pt idx="31">
                  <c:v>79.713596502416735</c:v>
                </c:pt>
                <c:pt idx="32">
                  <c:v>79.6297729610854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D$2:$D$34</c:f>
              <c:numCache>
                <c:formatCode>General</c:formatCode>
                <c:ptCount val="33"/>
                <c:pt idx="0">
                  <c:v>117.98005990558711</c:v>
                </c:pt>
                <c:pt idx="1">
                  <c:v>117.19238594995576</c:v>
                </c:pt>
                <c:pt idx="2">
                  <c:v>116.46638132363323</c:v>
                </c:pt>
                <c:pt idx="3">
                  <c:v>115.79654031616884</c:v>
                </c:pt>
                <c:pt idx="4">
                  <c:v>113.7143456099999</c:v>
                </c:pt>
                <c:pt idx="5">
                  <c:v>111.90355670762284</c:v>
                </c:pt>
                <c:pt idx="6">
                  <c:v>110.33299677129116</c:v>
                </c:pt>
                <c:pt idx="7">
                  <c:v>108.97246311090483</c:v>
                </c:pt>
                <c:pt idx="8">
                  <c:v>107.79391837153676</c:v>
                </c:pt>
                <c:pt idx="9">
                  <c:v>106.77212218609904</c:v>
                </c:pt>
                <c:pt idx="10">
                  <c:v>105.88484992309199</c:v>
                </c:pt>
                <c:pt idx="11">
                  <c:v>102.82823102624157</c:v>
                </c:pt>
                <c:pt idx="12">
                  <c:v>100</c:v>
                </c:pt>
                <c:pt idx="13">
                  <c:v>97.380914497909004</c:v>
                </c:pt>
                <c:pt idx="14">
                  <c:v>94.952925377809578</c:v>
                </c:pt>
                <c:pt idx="15">
                  <c:v>92.699282623035558</c:v>
                </c:pt>
                <c:pt idx="16">
                  <c:v>90.604570756596587</c:v>
                </c:pt>
                <c:pt idx="17">
                  <c:v>88.65469324315643</c:v>
                </c:pt>
                <c:pt idx="18">
                  <c:v>86.836821848309967</c:v>
                </c:pt>
                <c:pt idx="19">
                  <c:v>85.139323645267226</c:v>
                </c:pt>
                <c:pt idx="20">
                  <c:v>85.383970981802662</c:v>
                </c:pt>
                <c:pt idx="21">
                  <c:v>85.61515761948219</c:v>
                </c:pt>
                <c:pt idx="22">
                  <c:v>85.833290292997589</c:v>
                </c:pt>
                <c:pt idx="23">
                  <c:v>86.038761715945952</c:v>
                </c:pt>
                <c:pt idx="24">
                  <c:v>86.231951258144093</c:v>
                </c:pt>
                <c:pt idx="25">
                  <c:v>86.413225573255431</c:v>
                </c:pt>
                <c:pt idx="26">
                  <c:v>86.582939181680402</c:v>
                </c:pt>
                <c:pt idx="27">
                  <c:v>86.871917762310389</c:v>
                </c:pt>
                <c:pt idx="28">
                  <c:v>87.152885829948332</c:v>
                </c:pt>
                <c:pt idx="29">
                  <c:v>87.426063457836364</c:v>
                </c:pt>
                <c:pt idx="30">
                  <c:v>87.691662904505023</c:v>
                </c:pt>
                <c:pt idx="31">
                  <c:v>87.949889047272023</c:v>
                </c:pt>
                <c:pt idx="32">
                  <c:v>88.2009397788356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E$2:$E$34</c:f>
              <c:numCache>
                <c:formatCode>General</c:formatCode>
                <c:ptCount val="33"/>
                <c:pt idx="0">
                  <c:v>0.5963071087019437</c:v>
                </c:pt>
                <c:pt idx="1">
                  <c:v>0.60224376886809172</c:v>
                </c:pt>
                <c:pt idx="2">
                  <c:v>0.6080083519279742</c:v>
                </c:pt>
                <c:pt idx="3">
                  <c:v>0.61360823261471764</c:v>
                </c:pt>
                <c:pt idx="4">
                  <c:v>0.61905037018352438</c:v>
                </c:pt>
                <c:pt idx="5">
                  <c:v>0.62434133726430874</c:v>
                </c:pt>
                <c:pt idx="6">
                  <c:v>0.62948734634287973</c:v>
                </c:pt>
                <c:pt idx="7">
                  <c:v>0.63449427409500314</c:v>
                </c:pt>
                <c:pt idx="8">
                  <c:v>0.63936768377373643</c:v>
                </c:pt>
                <c:pt idx="9">
                  <c:v>0.64411284582934514</c:v>
                </c:pt>
                <c:pt idx="10">
                  <c:v>0.64873475692247051</c:v>
                </c:pt>
                <c:pt idx="11">
                  <c:v>0.65323815747474656</c:v>
                </c:pt>
                <c:pt idx="12">
                  <c:v>0.6576275478864585</c:v>
                </c:pt>
                <c:pt idx="13">
                  <c:v>0.6619072035378778</c:v>
                </c:pt>
                <c:pt idx="14">
                  <c:v>0.66608118867938571</c:v>
                </c:pt>
                <c:pt idx="15">
                  <c:v>0.67015336930524683</c:v>
                </c:pt>
                <c:pt idx="16">
                  <c:v>0.67412742509674983</c:v>
                </c:pt>
                <c:pt idx="17">
                  <c:v>0.67800686051226455</c:v>
                </c:pt>
                <c:pt idx="18">
                  <c:v>0.68179501509447338</c:v>
                </c:pt>
                <c:pt idx="19">
                  <c:v>0.685495073058491</c:v>
                </c:pt>
                <c:pt idx="20">
                  <c:v>0.68911007221873832</c:v>
                </c:pt>
                <c:pt idx="21">
                  <c:v>0.69264291230716168</c:v>
                </c:pt>
                <c:pt idx="22">
                  <c:v>0.69609636273067688</c:v>
                </c:pt>
                <c:pt idx="23">
                  <c:v>0.69947306981144708</c:v>
                </c:pt>
                <c:pt idx="24">
                  <c:v>0.70277556354978266</c:v>
                </c:pt>
                <c:pt idx="25">
                  <c:v>0.70600626394598076</c:v>
                </c:pt>
                <c:pt idx="26">
                  <c:v>0.70916748691430365</c:v>
                </c:pt>
                <c:pt idx="27">
                  <c:v>0.71226144981947048</c:v>
                </c:pt>
                <c:pt idx="28">
                  <c:v>0.71529027666347611</c:v>
                </c:pt>
                <c:pt idx="29">
                  <c:v>0.71825600294823166</c:v>
                </c:pt>
                <c:pt idx="30">
                  <c:v>0.72116058023742513</c:v>
                </c:pt>
                <c:pt idx="31">
                  <c:v>0.72400588043908398</c:v>
                </c:pt>
                <c:pt idx="32">
                  <c:v>0.7267936998285882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Hawaiian Tropic Sheer Touch Lotion FPS30 240ml (1.7%)</c:v>
                </c:pt>
                <c:pt idx="7">
                  <c:v>Banana Boat Aqua Protect Cream FPS50+ 236ml (2.7%)</c:v>
                </c:pt>
                <c:pt idx="8">
                  <c:v>Nivea Sun Protection &amp; Hydration Lotion FPS50+ 125ml (4.5%)</c:v>
                </c:pt>
                <c:pt idx="9">
                  <c:v>Nivea Sun Protect &amp; Refresh Sport Lotion FPS50 200ml (5.8%)</c:v>
                </c:pt>
              </c:strCache>
            </c:strRef>
          </c:cat>
          <c:val>
            <c:numRef>
              <c:f>Sheet1!$B$2:$B$11</c:f>
              <c:numCache>
                <c:formatCode>General</c:formatCode>
                <c:ptCount val="10"/>
                <c:pt idx="0">
                  <c:v>0.10022840746312309</c:v>
                </c:pt>
                <c:pt idx="1">
                  <c:v>9.911227986781676E-2</c:v>
                </c:pt>
                <c:pt idx="2">
                  <c:v>9.2167786256561565E-2</c:v>
                </c:pt>
                <c:pt idx="3">
                  <c:v>9.1020736858619236E-2</c:v>
                </c:pt>
                <c:pt idx="4">
                  <c:v>5.63467870988167E-2</c:v>
                </c:pt>
                <c:pt idx="5">
                  <c:v>4.6690864097451927E-2</c:v>
                </c:pt>
                <c:pt idx="6">
                  <c:v>3.9846689011407838E-2</c:v>
                </c:pt>
                <c:pt idx="7">
                  <c:v>3.7905111432734492E-2</c:v>
                </c:pt>
                <c:pt idx="8">
                  <c:v>3.5519361079713339E-2</c:v>
                </c:pt>
                <c:pt idx="9">
                  <c:v>3.197906418815765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Nivea Sun Protect &amp; Refresh Sport Lotion FPS50 200ml (5.8%)</c:v>
                </c:pt>
                <c:pt idx="7">
                  <c:v>Banana Boat Aqua Protect Cream FPS50+ 236ml (2.7%)</c:v>
                </c:pt>
                <c:pt idx="8">
                  <c:v>Nivea Sun Protection &amp; Hydration Lotion FPS50+ 125ml (4.5%)</c:v>
                </c:pt>
                <c:pt idx="9">
                  <c:v>Hawaiian Tropic Sheer Touch Lotion FPS30 240ml (1.7%)</c:v>
                </c:pt>
              </c:strCache>
            </c:strRef>
          </c:cat>
          <c:val>
            <c:numRef>
              <c:f>Sheet1!$B$2:$B$11</c:f>
              <c:numCache>
                <c:formatCode>General</c:formatCode>
                <c:ptCount val="10"/>
                <c:pt idx="0">
                  <c:v>9.6958617768118649E-2</c:v>
                </c:pt>
                <c:pt idx="1">
                  <c:v>9.0629844650903818E-2</c:v>
                </c:pt>
                <c:pt idx="2">
                  <c:v>8.7085547920877568E-2</c:v>
                </c:pt>
                <c:pt idx="3">
                  <c:v>7.569857474930218E-2</c:v>
                </c:pt>
                <c:pt idx="4">
                  <c:v>5.0297106875612382E-2</c:v>
                </c:pt>
                <c:pt idx="5">
                  <c:v>3.9563060107327221E-2</c:v>
                </c:pt>
                <c:pt idx="6">
                  <c:v>3.5632659359172286E-2</c:v>
                </c:pt>
                <c:pt idx="7">
                  <c:v>3.3092194128029183E-2</c:v>
                </c:pt>
                <c:pt idx="8">
                  <c:v>3.1074939160959911E-2</c:v>
                </c:pt>
                <c:pt idx="9">
                  <c:v>2.724005018346760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08507563610175</c:v>
                </c:pt>
                <c:pt idx="1">
                  <c:v>111.78950202142501</c:v>
                </c:pt>
                <c:pt idx="2">
                  <c:v>107.8658626337305</c:v>
                </c:pt>
                <c:pt idx="3">
                  <c:v>104.26247988501855</c:v>
                </c:pt>
                <c:pt idx="4">
                  <c:v>100.93704290525326</c:v>
                </c:pt>
                <c:pt idx="5">
                  <c:v>100</c:v>
                </c:pt>
                <c:pt idx="6">
                  <c:v>99.076616117204949</c:v>
                </c:pt>
                <c:pt idx="7">
                  <c:v>98.166610394104424</c:v>
                </c:pt>
                <c:pt idx="8">
                  <c:v>97.269708396660064</c:v>
                </c:pt>
                <c:pt idx="9">
                  <c:v>96.385641972092188</c:v>
                </c:pt>
                <c:pt idx="10">
                  <c:v>92.558779660240376</c:v>
                </c:pt>
                <c:pt idx="11">
                  <c:v>89.234511557529558</c:v>
                </c:pt>
                <c:pt idx="12">
                  <c:v>86.300742442397706</c:v>
                </c:pt>
                <c:pt idx="13">
                  <c:v>85.069270518385864</c:v>
                </c:pt>
                <c:pt idx="14">
                  <c:v>83.871560717023158</c:v>
                </c:pt>
                <c:pt idx="15">
                  <c:v>82.7061014362413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3.96585007468676</c:v>
                </c:pt>
                <c:pt idx="1">
                  <c:v>102.4665709006583</c:v>
                </c:pt>
                <c:pt idx="2">
                  <c:v>101.1335423064008</c:v>
                </c:pt>
                <c:pt idx="3">
                  <c:v>99.94116974965894</c:v>
                </c:pt>
                <c:pt idx="4">
                  <c:v>98.868571229706802</c:v>
                </c:pt>
                <c:pt idx="5">
                  <c:v>100</c:v>
                </c:pt>
                <c:pt idx="6">
                  <c:v>101.10627075457563</c:v>
                </c:pt>
                <c:pt idx="7">
                  <c:v>102.18797752187459</c:v>
                </c:pt>
                <c:pt idx="8">
                  <c:v>103.24569572488113</c:v>
                </c:pt>
                <c:pt idx="9">
                  <c:v>104.27998280823884</c:v>
                </c:pt>
                <c:pt idx="10">
                  <c:v>102.10944878956734</c:v>
                </c:pt>
                <c:pt idx="11">
                  <c:v>100.33375680463837</c:v>
                </c:pt>
                <c:pt idx="12">
                  <c:v>98.85898766012437</c:v>
                </c:pt>
                <c:pt idx="13">
                  <c:v>99.205215761277813</c:v>
                </c:pt>
                <c:pt idx="14">
                  <c:v>99.540545265477604</c:v>
                </c:pt>
                <c:pt idx="15">
                  <c:v>99.8652565656534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91.446510832759287</c:v>
                </c:pt>
                <c:pt idx="1">
                  <c:v>92.808023999065469</c:v>
                </c:pt>
                <c:pt idx="2">
                  <c:v>94.129419605167314</c:v>
                </c:pt>
                <c:pt idx="3">
                  <c:v>95.410772279617078</c:v>
                </c:pt>
                <c:pt idx="4">
                  <c:v>96.652351080655947</c:v>
                </c:pt>
                <c:pt idx="5">
                  <c:v>100</c:v>
                </c:pt>
                <c:pt idx="6">
                  <c:v>103.28233440325214</c:v>
                </c:pt>
                <c:pt idx="7">
                  <c:v>106.50078902461711</c:v>
                </c:pt>
                <c:pt idx="8">
                  <c:v>109.65675815616245</c:v>
                </c:pt>
                <c:pt idx="9">
                  <c:v>112.75159683978313</c:v>
                </c:pt>
                <c:pt idx="10">
                  <c:v>112.20398795493942</c:v>
                </c:pt>
                <c:pt idx="11">
                  <c:v>111.96208734958304</c:v>
                </c:pt>
                <c:pt idx="12">
                  <c:v>111.94449546602267</c:v>
                </c:pt>
                <c:pt idx="13">
                  <c:v>113.95821732509816</c:v>
                </c:pt>
                <c:pt idx="14">
                  <c:v>115.9140499914509</c:v>
                </c:pt>
                <c:pt idx="15">
                  <c:v>117.814139721137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43157202125949479</c:v>
                </c:pt>
                <c:pt idx="1">
                  <c:v>0.44449083895814256</c:v>
                </c:pt>
                <c:pt idx="2">
                  <c:v>0.45683548698129506</c:v>
                </c:pt>
                <c:pt idx="3">
                  <c:v>0.46864341117735386</c:v>
                </c:pt>
                <c:pt idx="4">
                  <c:v>0.47994887051400587</c:v>
                </c:pt>
                <c:pt idx="5">
                  <c:v>0.490783269044964</c:v>
                </c:pt>
                <c:pt idx="6">
                  <c:v>0.50117544722771989</c:v>
                </c:pt>
                <c:pt idx="7">
                  <c:v>0.51115193828316552</c:v>
                </c:pt>
                <c:pt idx="8">
                  <c:v>0.52073719439526023</c:v>
                </c:pt>
                <c:pt idx="9">
                  <c:v>0.52995378681073613</c:v>
                </c:pt>
                <c:pt idx="10">
                  <c:v>0.53882258328600507</c:v>
                </c:pt>
                <c:pt idx="11">
                  <c:v>0.54736290581774583</c:v>
                </c:pt>
                <c:pt idx="12">
                  <c:v>0.55559267116651412</c:v>
                </c:pt>
                <c:pt idx="13">
                  <c:v>0.56352851632425494</c:v>
                </c:pt>
                <c:pt idx="14">
                  <c:v>0.5711859107747066</c:v>
                </c:pt>
                <c:pt idx="15">
                  <c:v>0.578579257140659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Hawaiian Tropic Ozono Lotion FPS50+ 240ml (4.4%)</c:v>
                </c:pt>
                <c:pt idx="5">
                  <c:v>Caribbean Beach Advanced Protection Cream FPS50+ 150g (1.0%)</c:v>
                </c:pt>
                <c:pt idx="6">
                  <c:v>Equate Kids Lotion FPS50 237ml (1.4%)</c:v>
                </c:pt>
                <c:pt idx="7">
                  <c:v>Nivea Sun Protect &amp; Refresh Sport Lotion FPS50 200ml (5.8%)</c:v>
                </c:pt>
                <c:pt idx="8">
                  <c:v>Hawaiian Tropic Sheer Touch Lotion FPS50 120ml (1.4%)</c:v>
                </c:pt>
                <c:pt idx="9">
                  <c:v>Caribbean Beach Ultra Cream FPS50+ 250g (1.2%)</c:v>
                </c:pt>
              </c:strCache>
            </c:strRef>
          </c:cat>
          <c:val>
            <c:numRef>
              <c:f>Sheet1!$B$2:$B$11</c:f>
              <c:numCache>
                <c:formatCode>General</c:formatCode>
                <c:ptCount val="10"/>
                <c:pt idx="0">
                  <c:v>5.8125290130522519E-2</c:v>
                </c:pt>
                <c:pt idx="1">
                  <c:v>4.3848892284299196E-2</c:v>
                </c:pt>
                <c:pt idx="2">
                  <c:v>3.7712295010347952E-2</c:v>
                </c:pt>
                <c:pt idx="3">
                  <c:v>3.5579824319085095E-2</c:v>
                </c:pt>
                <c:pt idx="4">
                  <c:v>3.2757464081595994E-2</c:v>
                </c:pt>
                <c:pt idx="5">
                  <c:v>3.1413043269982552E-2</c:v>
                </c:pt>
                <c:pt idx="6">
                  <c:v>3.0517236299881862E-2</c:v>
                </c:pt>
                <c:pt idx="7">
                  <c:v>2.7300943609072897E-2</c:v>
                </c:pt>
                <c:pt idx="8">
                  <c:v>2.2423912778479816E-2</c:v>
                </c:pt>
                <c:pt idx="9">
                  <c:v>2.140776623021467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Lotion FPS50+ 125ml (4.5%)</c:v>
                </c:pt>
                <c:pt idx="2">
                  <c:v>Equate Kids Lotion FPS50 237ml (1.4%)</c:v>
                </c:pt>
                <c:pt idx="3">
                  <c:v>Nivea Sun Protection &amp; Hydration Cream FPS50+ 200ml (9.5%)</c:v>
                </c:pt>
                <c:pt idx="4">
                  <c:v>Equate Ultra Spray FPS50 156g (1.7%)</c:v>
                </c:pt>
                <c:pt idx="5">
                  <c:v>Equate Sport Lotion FPS30 237ml (2.0%)</c:v>
                </c:pt>
                <c:pt idx="6">
                  <c:v>Caribbean Beach Advanced Protection Cream FPS50+ 150g (1.0%)</c:v>
                </c:pt>
                <c:pt idx="7">
                  <c:v>Hawaiian Tropic Sheer Touch Lotion FPS50 120ml (1.4%)</c:v>
                </c:pt>
                <c:pt idx="8">
                  <c:v>Nivea Sun Protect &amp; Refresh Sport Lotion FPS50 200ml (5.8%)</c:v>
                </c:pt>
                <c:pt idx="9">
                  <c:v>Hawaiian Tropic Sheer Touch Lotion FPS50+ 240ml (4.4%)</c:v>
                </c:pt>
              </c:strCache>
            </c:strRef>
          </c:cat>
          <c:val>
            <c:numRef>
              <c:f>Sheet1!$B$2:$B$11</c:f>
              <c:numCache>
                <c:formatCode>General</c:formatCode>
                <c:ptCount val="10"/>
                <c:pt idx="0">
                  <c:v>5.0084359541581823E-2</c:v>
                </c:pt>
                <c:pt idx="1">
                  <c:v>5.0045720258919763E-2</c:v>
                </c:pt>
                <c:pt idx="2">
                  <c:v>4.792657538857014E-2</c:v>
                </c:pt>
                <c:pt idx="3">
                  <c:v>4.3818771793610982E-2</c:v>
                </c:pt>
                <c:pt idx="4">
                  <c:v>4.2703504259794509E-2</c:v>
                </c:pt>
                <c:pt idx="5">
                  <c:v>3.8124169227271541E-2</c:v>
                </c:pt>
                <c:pt idx="6">
                  <c:v>3.0969491385507506E-2</c:v>
                </c:pt>
                <c:pt idx="7">
                  <c:v>2.971925916243761E-2</c:v>
                </c:pt>
                <c:pt idx="8">
                  <c:v>2.6303982188447372E-2</c:v>
                </c:pt>
                <c:pt idx="9">
                  <c:v>2.47252102323610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B$2:$B$21</c:f>
              <c:numCache>
                <c:formatCode>General</c:formatCode>
                <c:ptCount val="20"/>
                <c:pt idx="0">
                  <c:v>126.67020834815634</c:v>
                </c:pt>
                <c:pt idx="1">
                  <c:v>125.11118118900113</c:v>
                </c:pt>
                <c:pt idx="2">
                  <c:v>123.58164913089675</c:v>
                </c:pt>
                <c:pt idx="3">
                  <c:v>122.08086119822798</c:v>
                </c:pt>
                <c:pt idx="4">
                  <c:v>120.60808838637394</c:v>
                </c:pt>
                <c:pt idx="5">
                  <c:v>119.16262303349538</c:v>
                </c:pt>
                <c:pt idx="6">
                  <c:v>111.46654331806741</c:v>
                </c:pt>
                <c:pt idx="7">
                  <c:v>105.20927876405628</c:v>
                </c:pt>
                <c:pt idx="8">
                  <c:v>100</c:v>
                </c:pt>
                <c:pt idx="9">
                  <c:v>98.386543640391267</c:v>
                </c:pt>
                <c:pt idx="10">
                  <c:v>96.831357960028058</c:v>
                </c:pt>
                <c:pt idx="11">
                  <c:v>95.330748374780754</c:v>
                </c:pt>
                <c:pt idx="12">
                  <c:v>86.702518919231082</c:v>
                </c:pt>
                <c:pt idx="13">
                  <c:v>79.968581854442661</c:v>
                </c:pt>
                <c:pt idx="14">
                  <c:v>77.479837830764041</c:v>
                </c:pt>
                <c:pt idx="15">
                  <c:v>75.33236024183023</c:v>
                </c:pt>
                <c:pt idx="16">
                  <c:v>73.4433881899418</c:v>
                </c:pt>
                <c:pt idx="17">
                  <c:v>71.459438873181426</c:v>
                </c:pt>
                <c:pt idx="18">
                  <c:v>69.673493830898124</c:v>
                </c:pt>
                <c:pt idx="19">
                  <c:v>68.0511805875634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C$2:$C$21</c:f>
              <c:numCache>
                <c:formatCode>General</c:formatCode>
                <c:ptCount val="20"/>
                <c:pt idx="0">
                  <c:v>108.29472873851876</c:v>
                </c:pt>
                <c:pt idx="1">
                  <c:v>109.23057641597819</c:v>
                </c:pt>
                <c:pt idx="2">
                  <c:v>110.13603748026529</c:v>
                </c:pt>
                <c:pt idx="3">
                  <c:v>111.0120436352054</c:v>
                </c:pt>
                <c:pt idx="4">
                  <c:v>111.85949185947047</c:v>
                </c:pt>
                <c:pt idx="5">
                  <c:v>112.6792458446799</c:v>
                </c:pt>
                <c:pt idx="6">
                  <c:v>107.42353461967402</c:v>
                </c:pt>
                <c:pt idx="7">
                  <c:v>103.30127953435209</c:v>
                </c:pt>
                <c:pt idx="8">
                  <c:v>100</c:v>
                </c:pt>
                <c:pt idx="9">
                  <c:v>100.17065210823992</c:v>
                </c:pt>
                <c:pt idx="10">
                  <c:v>100.34313477637311</c:v>
                </c:pt>
                <c:pt idx="11">
                  <c:v>100.51672491436609</c:v>
                </c:pt>
                <c:pt idx="12">
                  <c:v>92.990706359736237</c:v>
                </c:pt>
                <c:pt idx="13">
                  <c:v>87.21809696877196</c:v>
                </c:pt>
                <c:pt idx="14">
                  <c:v>85.908672173194702</c:v>
                </c:pt>
                <c:pt idx="15">
                  <c:v>84.893606889335715</c:v>
                </c:pt>
                <c:pt idx="16">
                  <c:v>84.096685174092173</c:v>
                </c:pt>
                <c:pt idx="17">
                  <c:v>83.121651176686015</c:v>
                </c:pt>
                <c:pt idx="18">
                  <c:v>82.308476106292488</c:v>
                </c:pt>
                <c:pt idx="19">
                  <c:v>81.6267206858657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D$2:$D$21</c:f>
              <c:numCache>
                <c:formatCode>General</c:formatCode>
                <c:ptCount val="20"/>
                <c:pt idx="0">
                  <c:v>66.459530585957395</c:v>
                </c:pt>
                <c:pt idx="1">
                  <c:v>73.075264661375058</c:v>
                </c:pt>
                <c:pt idx="2">
                  <c:v>79.524714097542628</c:v>
                </c:pt>
                <c:pt idx="3">
                  <c:v>85.81260853253896</c:v>
                </c:pt>
                <c:pt idx="4">
                  <c:v>91.943515871472684</c:v>
                </c:pt>
                <c:pt idx="5">
                  <c:v>97.921848297474199</c:v>
                </c:pt>
                <c:pt idx="6">
                  <c:v>98.220579234421891</c:v>
                </c:pt>
                <c:pt idx="7">
                  <c:v>98.958083175267291</c:v>
                </c:pt>
                <c:pt idx="8">
                  <c:v>100</c:v>
                </c:pt>
                <c:pt idx="9">
                  <c:v>104.23235434098844</c:v>
                </c:pt>
                <c:pt idx="10">
                  <c:v>108.33817113938036</c:v>
                </c:pt>
                <c:pt idx="11">
                  <c:v>112.32348401702895</c:v>
                </c:pt>
                <c:pt idx="12">
                  <c:v>107.30885365213199</c:v>
                </c:pt>
                <c:pt idx="13">
                  <c:v>103.72595629911028</c:v>
                </c:pt>
                <c:pt idx="14">
                  <c:v>105.101448366882</c:v>
                </c:pt>
                <c:pt idx="15">
                  <c:v>106.66439925000775</c:v>
                </c:pt>
                <c:pt idx="16">
                  <c:v>108.35353981702764</c:v>
                </c:pt>
                <c:pt idx="17">
                  <c:v>109.67244069946078</c:v>
                </c:pt>
                <c:pt idx="18">
                  <c:v>111.07123387890209</c:v>
                </c:pt>
                <c:pt idx="19">
                  <c:v>112.528375887073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E$2:$E$21</c:f>
              <c:numCache>
                <c:formatCode>General</c:formatCode>
                <c:ptCount val="20"/>
                <c:pt idx="0">
                  <c:v>0.18787798021385654</c:v>
                </c:pt>
                <c:pt idx="1">
                  <c:v>0.20479718895940088</c:v>
                </c:pt>
                <c:pt idx="2">
                  <c:v>0.22102581775614819</c:v>
                </c:pt>
                <c:pt idx="3">
                  <c:v>0.23660530140102487</c:v>
                </c:pt>
                <c:pt idx="4">
                  <c:v>0.25157382490296565</c:v>
                </c:pt>
                <c:pt idx="5">
                  <c:v>0.26596663596252401</c:v>
                </c:pt>
                <c:pt idx="6">
                  <c:v>0.27981632207643875</c:v>
                </c:pt>
                <c:pt idx="7">
                  <c:v>0.29315305685280096</c:v>
                </c:pt>
                <c:pt idx="8">
                  <c:v>0.30600481945547708</c:v>
                </c:pt>
                <c:pt idx="9">
                  <c:v>0.31839759053662936</c:v>
                </c:pt>
                <c:pt idx="10">
                  <c:v>0.33035552754475872</c:v>
                </c:pt>
                <c:pt idx="11">
                  <c:v>0.34190112189743543</c:v>
                </c:pt>
                <c:pt idx="12">
                  <c:v>0.35305534017036017</c:v>
                </c:pt>
                <c:pt idx="13">
                  <c:v>0.36383775116752093</c:v>
                </c:pt>
                <c:pt idx="14">
                  <c:v>0.37426664049264341</c:v>
                </c:pt>
                <c:pt idx="15">
                  <c:v>0.38435911403308465</c:v>
                </c:pt>
                <c:pt idx="16">
                  <c:v>0.39413119158811499</c:v>
                </c:pt>
                <c:pt idx="17">
                  <c:v>0.40359789171955063</c:v>
                </c:pt>
                <c:pt idx="18">
                  <c:v>0.41277330877001916</c:v>
                </c:pt>
                <c:pt idx="19">
                  <c:v>0.421670682879564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4728999012395142</c:v>
                </c:pt>
                <c:pt idx="1">
                  <c:v>0.2532537459360768</c:v>
                </c:pt>
                <c:pt idx="2">
                  <c:v>9.2789684832174826E-2</c:v>
                </c:pt>
                <c:pt idx="3">
                  <c:v>8.0377549900842934E-2</c:v>
                </c:pt>
                <c:pt idx="4">
                  <c:v>2.8125109395658057E-2</c:v>
                </c:pt>
                <c:pt idx="5">
                  <c:v>1.7405717850739612E-2</c:v>
                </c:pt>
                <c:pt idx="6">
                  <c:v>1.3950494898928785E-2</c:v>
                </c:pt>
                <c:pt idx="7">
                  <c:v>1.3366172706267233E-2</c:v>
                </c:pt>
                <c:pt idx="8">
                  <c:v>9.0637345129133285E-3</c:v>
                </c:pt>
                <c:pt idx="9">
                  <c:v>6.8651484196283197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Hawaiian Tropic Sheer Touch Lotion FPS50 120ml (1.4%)</c:v>
                </c:pt>
                <c:pt idx="7">
                  <c:v>Equate Kids Lotion FPS50 237ml (1.4%)</c:v>
                </c:pt>
                <c:pt idx="8">
                  <c:v>Hawaiian Tropic Sheer Touch Lotion FPS50+ 240ml (4.4%)</c:v>
                </c:pt>
                <c:pt idx="9">
                  <c:v>Caribbean Beach Advanced Protection Cream FPS50+ 150g (1.0%)</c:v>
                </c:pt>
              </c:strCache>
            </c:strRef>
          </c:cat>
          <c:val>
            <c:numRef>
              <c:f>Sheet1!$B$2:$B$11</c:f>
              <c:numCache>
                <c:formatCode>General</c:formatCode>
                <c:ptCount val="10"/>
                <c:pt idx="0">
                  <c:v>8.5498220346965095E-2</c:v>
                </c:pt>
                <c:pt idx="1">
                  <c:v>6.7876285373889247E-2</c:v>
                </c:pt>
                <c:pt idx="2">
                  <c:v>4.863253137527631E-2</c:v>
                </c:pt>
                <c:pt idx="3">
                  <c:v>4.5290462023747098E-2</c:v>
                </c:pt>
                <c:pt idx="4">
                  <c:v>4.069769772902878E-2</c:v>
                </c:pt>
                <c:pt idx="5">
                  <c:v>3.8094246310490402E-2</c:v>
                </c:pt>
                <c:pt idx="6">
                  <c:v>3.4693981213287171E-2</c:v>
                </c:pt>
                <c:pt idx="7">
                  <c:v>3.0535227132124552E-2</c:v>
                </c:pt>
                <c:pt idx="8">
                  <c:v>2.921381277974263E-2</c:v>
                </c:pt>
                <c:pt idx="9">
                  <c:v>2.852856899786688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Sheer Touch Lotion FPS50+ 240ml (4.4%)</c:v>
                </c:pt>
                <c:pt idx="3">
                  <c:v>Hawaiian Tropic Ozono Lotion FPS50+ 240ml (4.4%)</c:v>
                </c:pt>
                <c:pt idx="4">
                  <c:v>Nivea Sun Protect &amp; Refresh Sport Lotion FPS50 200ml (5.8%)</c:v>
                </c:pt>
                <c:pt idx="5">
                  <c:v>Nivea Sun Protection Sensitive Skin Gel FPS50+ 200ml (5.1%)</c:v>
                </c:pt>
                <c:pt idx="6">
                  <c:v>Hawaiian Tropic Island Sport Lotion FPS50 240ml (3.6%)</c:v>
                </c:pt>
                <c:pt idx="7">
                  <c:v>Hawaiian Tropic Sheer Touch Lotion FPS50 120ml (1.4%)</c:v>
                </c:pt>
                <c:pt idx="8">
                  <c:v>Banana Boat Advanced Protection Lotion FPS50+ 240ml (2.8%)</c:v>
                </c:pt>
                <c:pt idx="9">
                  <c:v>Nivea Sun Babies &amp; Kids Lotion FPS50+ 200ml (2.3%)</c:v>
                </c:pt>
              </c:strCache>
            </c:strRef>
          </c:cat>
          <c:val>
            <c:numRef>
              <c:f>Sheet1!$B$2:$B$11</c:f>
              <c:numCache>
                <c:formatCode>General</c:formatCode>
                <c:ptCount val="10"/>
                <c:pt idx="0">
                  <c:v>7.4242504930962211E-2</c:v>
                </c:pt>
                <c:pt idx="1">
                  <c:v>5.952499408792486E-2</c:v>
                </c:pt>
                <c:pt idx="2">
                  <c:v>5.4785783365159747E-2</c:v>
                </c:pt>
                <c:pt idx="3">
                  <c:v>5.2195161492670818E-2</c:v>
                </c:pt>
                <c:pt idx="4">
                  <c:v>4.4040783622318579E-2</c:v>
                </c:pt>
                <c:pt idx="5">
                  <c:v>4.3851416054485781E-2</c:v>
                </c:pt>
                <c:pt idx="6">
                  <c:v>4.0505474035249969E-2</c:v>
                </c:pt>
                <c:pt idx="7">
                  <c:v>3.1578884851119336E-2</c:v>
                </c:pt>
                <c:pt idx="8">
                  <c:v>3.0242321866609481E-2</c:v>
                </c:pt>
                <c:pt idx="9">
                  <c:v>2.56687116399048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Island Sport Spray FPS50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0</c:v>
                </c:pt>
                <c:pt idx="1">
                  <c:v>350</c:v>
                </c:pt>
                <c:pt idx="2">
                  <c:v>385</c:v>
                </c:pt>
                <c:pt idx="3">
                  <c:v>430</c:v>
                </c:pt>
                <c:pt idx="4">
                  <c:v>465</c:v>
                </c:pt>
              </c:numCache>
            </c:numRef>
          </c:xVal>
          <c:yVal>
            <c:numRef>
              <c:f>Sheet1!$B$2:$B$6</c:f>
              <c:numCache>
                <c:formatCode>General</c:formatCode>
                <c:ptCount val="5"/>
                <c:pt idx="0">
                  <c:v>0.18725002171000557</c:v>
                </c:pt>
                <c:pt idx="1">
                  <c:v>0.1018070445693995</c:v>
                </c:pt>
                <c:pt idx="2">
                  <c:v>0</c:v>
                </c:pt>
                <c:pt idx="3">
                  <c:v>-0.16069068707273479</c:v>
                </c:pt>
                <c:pt idx="4">
                  <c:v>-0.237840333013058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Island Sport Lotion FPS5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47893926300174172</c:v>
                </c:pt>
                <c:pt idx="1">
                  <c:v>0.37161636440989188</c:v>
                </c:pt>
                <c:pt idx="2">
                  <c:v>0</c:v>
                </c:pt>
                <c:pt idx="3">
                  <c:v>-0.21344585892039791</c:v>
                </c:pt>
                <c:pt idx="4">
                  <c:v>-0.448160256159820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30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8.72500217100053</c:v>
                </c:pt>
                <c:pt idx="1">
                  <c:v>115.72938568747115</c:v>
                </c:pt>
                <c:pt idx="2">
                  <c:v>113.78693471835824</c:v>
                </c:pt>
                <c:pt idx="3">
                  <c:v>111.94037558818847</c:v>
                </c:pt>
                <c:pt idx="4">
                  <c:v>110.18070445693999</c:v>
                </c:pt>
                <c:pt idx="5">
                  <c:v>108.45437877968436</c:v>
                </c:pt>
                <c:pt idx="6">
                  <c:v>106.83738460093859</c:v>
                </c:pt>
                <c:pt idx="7">
                  <c:v>105.31668513684218</c:v>
                </c:pt>
                <c:pt idx="8">
                  <c:v>103.88127061122469</c:v>
                </c:pt>
                <c:pt idx="9">
                  <c:v>102.52180110146018</c:v>
                </c:pt>
                <c:pt idx="10">
                  <c:v>101.23031639649179</c:v>
                </c:pt>
                <c:pt idx="11">
                  <c:v>100</c:v>
                </c:pt>
                <c:pt idx="12">
                  <c:v>97.823366899951296</c:v>
                </c:pt>
                <c:pt idx="13">
                  <c:v>95.765209002469021</c:v>
                </c:pt>
                <c:pt idx="14">
                  <c:v>93.815114428957827</c:v>
                </c:pt>
                <c:pt idx="15">
                  <c:v>91.963841865684429</c:v>
                </c:pt>
                <c:pt idx="16">
                  <c:v>90.203169401810584</c:v>
                </c:pt>
                <c:pt idx="17">
                  <c:v>88.525764599504015</c:v>
                </c:pt>
                <c:pt idx="18">
                  <c:v>86.925072665612419</c:v>
                </c:pt>
                <c:pt idx="19">
                  <c:v>85.395220062021053</c:v>
                </c:pt>
                <c:pt idx="20">
                  <c:v>83.930931292726456</c:v>
                </c:pt>
                <c:pt idx="21">
                  <c:v>82.759854390316931</c:v>
                </c:pt>
                <c:pt idx="22">
                  <c:v>81.612900903420439</c:v>
                </c:pt>
                <c:pt idx="23">
                  <c:v>80.489355044999897</c:v>
                </c:pt>
                <c:pt idx="24">
                  <c:v>79.388531647076803</c:v>
                </c:pt>
                <c:pt idx="25">
                  <c:v>78.309774348525039</c:v>
                </c:pt>
                <c:pt idx="26">
                  <c:v>77.252453917740382</c:v>
                </c:pt>
                <c:pt idx="27">
                  <c:v>76.2159666986941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1.83417692321923</c:v>
                </c:pt>
                <c:pt idx="1">
                  <c:v>100.76102927882249</c:v>
                </c:pt>
                <c:pt idx="2">
                  <c:v>100.54088576044127</c:v>
                </c:pt>
                <c:pt idx="3">
                  <c:v>100.3564956413467</c:v>
                </c:pt>
                <c:pt idx="4">
                  <c:v>100.20338375283238</c:v>
                </c:pt>
                <c:pt idx="5">
                  <c:v>100.03640180588368</c:v>
                </c:pt>
                <c:pt idx="6">
                  <c:v>99.927017955151058</c:v>
                </c:pt>
                <c:pt idx="7">
                  <c:v>99.867106232686567</c:v>
                </c:pt>
                <c:pt idx="8">
                  <c:v>99.849815992053919</c:v>
                </c:pt>
                <c:pt idx="9">
                  <c:v>99.869354753712074</c:v>
                </c:pt>
                <c:pt idx="10">
                  <c:v>99.920809557127683</c:v>
                </c:pt>
                <c:pt idx="11">
                  <c:v>100</c:v>
                </c:pt>
                <c:pt idx="12">
                  <c:v>99.086121319166793</c:v>
                </c:pt>
                <c:pt idx="13">
                  <c:v>98.23770101468709</c:v>
                </c:pt>
                <c:pt idx="14">
                  <c:v>97.448493795323088</c:v>
                </c:pt>
                <c:pt idx="15">
                  <c:v>96.712950602277502</c:v>
                </c:pt>
                <c:pt idx="16">
                  <c:v>96.02613275754149</c:v>
                </c:pt>
                <c:pt idx="17">
                  <c:v>95.383637371669238</c:v>
                </c:pt>
                <c:pt idx="18">
                  <c:v>94.781532497924474</c:v>
                </c:pt>
                <c:pt idx="19">
                  <c:v>94.216300716251141</c:v>
                </c:pt>
                <c:pt idx="20">
                  <c:v>93.684790006033438</c:v>
                </c:pt>
                <c:pt idx="21">
                  <c:v>93.446912237776402</c:v>
                </c:pt>
                <c:pt idx="22">
                  <c:v>93.206325942596607</c:v>
                </c:pt>
                <c:pt idx="23">
                  <c:v>92.963139989659922</c:v>
                </c:pt>
                <c:pt idx="24">
                  <c:v>92.717461957310618</c:v>
                </c:pt>
                <c:pt idx="25">
                  <c:v>92.46939797533831</c:v>
                </c:pt>
                <c:pt idx="26">
                  <c:v>92.219052587515407</c:v>
                </c:pt>
                <c:pt idx="27">
                  <c:v>91.96652863274839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5.349134891318982</c:v>
                </c:pt>
                <c:pt idx="1">
                  <c:v>95.01478769960103</c:v>
                </c:pt>
                <c:pt idx="2">
                  <c:v>95.45671084768766</c:v>
                </c:pt>
                <c:pt idx="3">
                  <c:v>95.911258245891645</c:v>
                </c:pt>
                <c:pt idx="4">
                  <c:v>96.375703335560601</c:v>
                </c:pt>
                <c:pt idx="5">
                  <c:v>96.806919442888358</c:v>
                </c:pt>
                <c:pt idx="6">
                  <c:v>97.275882744960597</c:v>
                </c:pt>
                <c:pt idx="7">
                  <c:v>97.776360677102218</c:v>
                </c:pt>
                <c:pt idx="8">
                  <c:v>98.303105446695668</c:v>
                </c:pt>
                <c:pt idx="9">
                  <c:v>98.851691073322328</c:v>
                </c:pt>
                <c:pt idx="10">
                  <c:v>99.418377885039661</c:v>
                </c:pt>
                <c:pt idx="11">
                  <c:v>100</c:v>
                </c:pt>
                <c:pt idx="12">
                  <c:v>99.574323847588303</c:v>
                </c:pt>
                <c:pt idx="13">
                  <c:v>99.19344426687735</c:v>
                </c:pt>
                <c:pt idx="14">
                  <c:v>98.852752110272206</c:v>
                </c:pt>
                <c:pt idx="15">
                  <c:v>98.548147147705578</c:v>
                </c:pt>
                <c:pt idx="16">
                  <c:v>98.275978136993146</c:v>
                </c:pt>
                <c:pt idx="17">
                  <c:v>98.03299017244376</c:v>
                </c:pt>
                <c:pt idx="18">
                  <c:v>97.816278449232513</c:v>
                </c:pt>
                <c:pt idx="19">
                  <c:v>97.6232476673691</c:v>
                </c:pt>
                <c:pt idx="20">
                  <c:v>97.451576383285726</c:v>
                </c:pt>
                <c:pt idx="21">
                  <c:v>97.573180349375107</c:v>
                </c:pt>
                <c:pt idx="22">
                  <c:v>97.68173480481201</c:v>
                </c:pt>
                <c:pt idx="23">
                  <c:v>97.777665585896003</c:v>
                </c:pt>
                <c:pt idx="24">
                  <c:v>97.861385024738027</c:v>
                </c:pt>
                <c:pt idx="25">
                  <c:v>97.933292423213828</c:v>
                </c:pt>
                <c:pt idx="26">
                  <c:v>97.993774503385964</c:v>
                </c:pt>
                <c:pt idx="27">
                  <c:v>98.0432058365064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98260056729325</c:v>
                </c:pt>
                <c:pt idx="1">
                  <c:v>0.68460472200617228</c:v>
                </c:pt>
                <c:pt idx="2">
                  <c:v>0.68924288785902277</c:v>
                </c:pt>
                <c:pt idx="3">
                  <c:v>0.6937466141219355</c:v>
                </c:pt>
                <c:pt idx="4">
                  <c:v>0.69812166249162211</c:v>
                </c:pt>
                <c:pt idx="5">
                  <c:v>0.70237347006216255</c:v>
                </c:pt>
                <c:pt idx="6">
                  <c:v>0.70650717186685486</c:v>
                </c:pt>
                <c:pt idx="7">
                  <c:v>0.71052762156730886</c:v>
                </c:pt>
                <c:pt idx="8">
                  <c:v>0.71443941046504789</c:v>
                </c:pt>
                <c:pt idx="9">
                  <c:v>0.7182468849921807</c:v>
                </c:pt>
                <c:pt idx="10">
                  <c:v>0.72195416282123082</c:v>
                </c:pt>
                <c:pt idx="11">
                  <c:v>0.72556514771965652</c:v>
                </c:pt>
                <c:pt idx="12">
                  <c:v>0.72908354326171221</c:v>
                </c:pt>
                <c:pt idx="13">
                  <c:v>0.73251286549890571</c:v>
                </c:pt>
                <c:pt idx="14">
                  <c:v>0.73585645468016925</c:v>
                </c:pt>
                <c:pt idx="15">
                  <c:v>0.73911748610387096</c:v>
                </c:pt>
                <c:pt idx="16">
                  <c:v>0.742298980175775</c:v>
                </c:pt>
                <c:pt idx="17">
                  <c:v>0.74540381173992232</c:v>
                </c:pt>
                <c:pt idx="18">
                  <c:v>0.74843471874301837</c:v>
                </c:pt>
                <c:pt idx="19">
                  <c:v>0.75139431028721826</c:v>
                </c:pt>
                <c:pt idx="20">
                  <c:v>0.75428507412108792</c:v>
                </c:pt>
                <c:pt idx="21">
                  <c:v>0.75710938361394886</c:v>
                </c:pt>
                <c:pt idx="22">
                  <c:v>0.75986950425469935</c:v>
                </c:pt>
                <c:pt idx="23">
                  <c:v>0.76256759971251165</c:v>
                </c:pt>
                <c:pt idx="24">
                  <c:v>0.76520573749348397</c:v>
                </c:pt>
                <c:pt idx="25">
                  <c:v>0.76778589422432464</c:v>
                </c:pt>
                <c:pt idx="26">
                  <c:v>0.77030996059145151</c:v>
                </c:pt>
                <c:pt idx="27">
                  <c:v>0.7727797459614360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Island Sport Lotion FPS50 240ml (3.6%)</c:v>
                </c:pt>
                <c:pt idx="3">
                  <c:v>Hawaiian Tropic Sheer Touch Lotion FPS50+ 240ml (4.4%)</c:v>
                </c:pt>
                <c:pt idx="4">
                  <c:v>Banana Boat Aqua Protect Sport Lotion FPS50+ 236ml (3.1%)</c:v>
                </c:pt>
                <c:pt idx="5">
                  <c:v>Nivea Sun Protect &amp; Refresh Sport Lotion FPS50 200ml (5.8%)</c:v>
                </c:pt>
                <c:pt idx="6">
                  <c:v>Nivea Sun Protection Sensitive Skin Gel FPS50+ 200ml (5.1%)</c:v>
                </c:pt>
                <c:pt idx="7">
                  <c:v>Banana Boat Aqua Protect Cream FPS50+ 236ml (2.7%)</c:v>
                </c:pt>
                <c:pt idx="8">
                  <c:v>Banana Boat Advanced Protection Lotion FPS50+ 240ml (2.8%)</c:v>
                </c:pt>
                <c:pt idx="9">
                  <c:v>Nivea Sun Protection &amp; Hydration Lotion FPS50+ 125ml (4.5%)</c:v>
                </c:pt>
              </c:strCache>
            </c:strRef>
          </c:cat>
          <c:val>
            <c:numRef>
              <c:f>Sheet1!$B$2:$B$11</c:f>
              <c:numCache>
                <c:formatCode>General</c:formatCode>
                <c:ptCount val="10"/>
                <c:pt idx="0">
                  <c:v>0.10077131755195898</c:v>
                </c:pt>
                <c:pt idx="1">
                  <c:v>7.6691145650866002E-2</c:v>
                </c:pt>
                <c:pt idx="2">
                  <c:v>6.1243238037829328E-2</c:v>
                </c:pt>
                <c:pt idx="3">
                  <c:v>5.8575050353005746E-2</c:v>
                </c:pt>
                <c:pt idx="4">
                  <c:v>4.8002797682624873E-2</c:v>
                </c:pt>
                <c:pt idx="5">
                  <c:v>4.5729777229132483E-2</c:v>
                </c:pt>
                <c:pt idx="6">
                  <c:v>3.9812853140902792E-2</c:v>
                </c:pt>
                <c:pt idx="7">
                  <c:v>3.5788913197284222E-2</c:v>
                </c:pt>
                <c:pt idx="8">
                  <c:v>3.4837116042542748E-2</c:v>
                </c:pt>
                <c:pt idx="9">
                  <c:v>3.462538498594434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Sensitive Skin Gel FPS50+ 200ml (5.1%)</c:v>
                </c:pt>
                <c:pt idx="6">
                  <c:v>Banana Boat Aqua Protect Sport Lotion FPS50+ 236ml (3.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8.2160594006875809E-2</c:v>
                </c:pt>
                <c:pt idx="1">
                  <c:v>7.3786816609321862E-2</c:v>
                </c:pt>
                <c:pt idx="2">
                  <c:v>5.4780918838417576E-2</c:v>
                </c:pt>
                <c:pt idx="3">
                  <c:v>5.2981587994931571E-2</c:v>
                </c:pt>
                <c:pt idx="4">
                  <c:v>4.2447213631708294E-2</c:v>
                </c:pt>
                <c:pt idx="5">
                  <c:v>3.4342084868621385E-2</c:v>
                </c:pt>
                <c:pt idx="6">
                  <c:v>3.1864408303726756E-2</c:v>
                </c:pt>
                <c:pt idx="7">
                  <c:v>3.0420939380766444E-2</c:v>
                </c:pt>
                <c:pt idx="8">
                  <c:v>2.6666662256752627E-2</c:v>
                </c:pt>
                <c:pt idx="9">
                  <c:v>2.65751280678201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7.89392630017412</c:v>
                </c:pt>
                <c:pt idx="1">
                  <c:v>143.83920258959429</c:v>
                </c:pt>
                <c:pt idx="2">
                  <c:v>140.29643888510748</c:v>
                </c:pt>
                <c:pt idx="3">
                  <c:v>137.16163644098918</c:v>
                </c:pt>
                <c:pt idx="4">
                  <c:v>128.30297939525235</c:v>
                </c:pt>
                <c:pt idx="5">
                  <c:v>120.53389085885837</c:v>
                </c:pt>
                <c:pt idx="6">
                  <c:v>113.73367094594337</c:v>
                </c:pt>
                <c:pt idx="7">
                  <c:v>107.77565939051475</c:v>
                </c:pt>
                <c:pt idx="8">
                  <c:v>105.05221710550681</c:v>
                </c:pt>
                <c:pt idx="9">
                  <c:v>102.46359112968281</c:v>
                </c:pt>
                <c:pt idx="10">
                  <c:v>100</c:v>
                </c:pt>
                <c:pt idx="11">
                  <c:v>96.081946872285044</c:v>
                </c:pt>
                <c:pt idx="12">
                  <c:v>92.50754327220028</c:v>
                </c:pt>
                <c:pt idx="13">
                  <c:v>89.242905722230077</c:v>
                </c:pt>
                <c:pt idx="14">
                  <c:v>86.255021183477666</c:v>
                </c:pt>
                <c:pt idx="15">
                  <c:v>83.512871113081502</c:v>
                </c:pt>
                <c:pt idx="16">
                  <c:v>80.988117818199186</c:v>
                </c:pt>
                <c:pt idx="17">
                  <c:v>78.655414107960169</c:v>
                </c:pt>
                <c:pt idx="18">
                  <c:v>75.225673352301925</c:v>
                </c:pt>
                <c:pt idx="19">
                  <c:v>72.044926999697509</c:v>
                </c:pt>
                <c:pt idx="20">
                  <c:v>69.09219274880752</c:v>
                </c:pt>
                <c:pt idx="21">
                  <c:v>66.3480767059568</c:v>
                </c:pt>
                <c:pt idx="22">
                  <c:v>63.794755204202581</c:v>
                </c:pt>
                <c:pt idx="23">
                  <c:v>61.415915596005568</c:v>
                </c:pt>
                <c:pt idx="24">
                  <c:v>59.196672038121633</c:v>
                </c:pt>
                <c:pt idx="25">
                  <c:v>57.123468091512486</c:v>
                </c:pt>
                <c:pt idx="26">
                  <c:v>55.1839743840178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7.58368977161443</c:v>
                </c:pt>
                <c:pt idx="1">
                  <c:v>126.0608488239009</c:v>
                </c:pt>
                <c:pt idx="2">
                  <c:v>124.88658402186013</c:v>
                </c:pt>
                <c:pt idx="3">
                  <c:v>123.98668330437246</c:v>
                </c:pt>
                <c:pt idx="4">
                  <c:v>117.71945060551747</c:v>
                </c:pt>
                <c:pt idx="5">
                  <c:v>112.23278485924595</c:v>
                </c:pt>
                <c:pt idx="6">
                  <c:v>107.45515712991755</c:v>
                </c:pt>
                <c:pt idx="7">
                  <c:v>103.30323611035081</c:v>
                </c:pt>
                <c:pt idx="8">
                  <c:v>102.1452056006349</c:v>
                </c:pt>
                <c:pt idx="9">
                  <c:v>101.04555953424668</c:v>
                </c:pt>
                <c:pt idx="10">
                  <c:v>100</c:v>
                </c:pt>
                <c:pt idx="11">
                  <c:v>97.409050796227319</c:v>
                </c:pt>
                <c:pt idx="12">
                  <c:v>95.064665230473949</c:v>
                </c:pt>
                <c:pt idx="13">
                  <c:v>92.945438684749774</c:v>
                </c:pt>
                <c:pt idx="14">
                  <c:v>91.02907873896612</c:v>
                </c:pt>
                <c:pt idx="15">
                  <c:v>89.293657735009901</c:v>
                </c:pt>
                <c:pt idx="16">
                  <c:v>87.718484709401096</c:v>
                </c:pt>
                <c:pt idx="17">
                  <c:v>86.284621694830079</c:v>
                </c:pt>
                <c:pt idx="18">
                  <c:v>83.552928378633311</c:v>
                </c:pt>
                <c:pt idx="19">
                  <c:v>81.008971311558284</c:v>
                </c:pt>
                <c:pt idx="20">
                  <c:v>78.638740106530818</c:v>
                </c:pt>
                <c:pt idx="21">
                  <c:v>76.428970221335661</c:v>
                </c:pt>
                <c:pt idx="22">
                  <c:v>74.367219563022985</c:v>
                </c:pt>
                <c:pt idx="23">
                  <c:v>72.441896715264392</c:v>
                </c:pt>
                <c:pt idx="24">
                  <c:v>70.642255899027646</c:v>
                </c:pt>
                <c:pt idx="25">
                  <c:v>68.958370404235012</c:v>
                </c:pt>
                <c:pt idx="26">
                  <c:v>67.3810931348179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7.64790908557244</c:v>
                </c:pt>
                <c:pt idx="1">
                  <c:v>117.36410117166069</c:v>
                </c:pt>
                <c:pt idx="2">
                  <c:v>117.34264430098855</c:v>
                </c:pt>
                <c:pt idx="3">
                  <c:v>117.52583851112821</c:v>
                </c:pt>
                <c:pt idx="4">
                  <c:v>112.55931410531839</c:v>
                </c:pt>
                <c:pt idx="5">
                  <c:v>108.20860398243686</c:v>
                </c:pt>
                <c:pt idx="6">
                  <c:v>104.42973087113914</c:v>
                </c:pt>
                <c:pt idx="7">
                  <c:v>101.16324900127887</c:v>
                </c:pt>
                <c:pt idx="8">
                  <c:v>100.75533859738439</c:v>
                </c:pt>
                <c:pt idx="9">
                  <c:v>100.36809226863564</c:v>
                </c:pt>
                <c:pt idx="10">
                  <c:v>100</c:v>
                </c:pt>
                <c:pt idx="11">
                  <c:v>98.046933732673864</c:v>
                </c:pt>
                <c:pt idx="12">
                  <c:v>96.291315623490092</c:v>
                </c:pt>
                <c:pt idx="13">
                  <c:v>94.718267416145324</c:v>
                </c:pt>
                <c:pt idx="14">
                  <c:v>93.311080673753651</c:v>
                </c:pt>
                <c:pt idx="15">
                  <c:v>92.052544785008678</c:v>
                </c:pt>
                <c:pt idx="16">
                  <c:v>90.925921487305914</c:v>
                </c:pt>
                <c:pt idx="17">
                  <c:v>89.915572980283926</c:v>
                </c:pt>
                <c:pt idx="18">
                  <c:v>87.533289050194483</c:v>
                </c:pt>
                <c:pt idx="19">
                  <c:v>85.305545208259588</c:v>
                </c:pt>
                <c:pt idx="20">
                  <c:v>83.222344699966783</c:v>
                </c:pt>
                <c:pt idx="21">
                  <c:v>81.273920061715359</c:v>
                </c:pt>
                <c:pt idx="22">
                  <c:v>79.450872901893462</c:v>
                </c:pt>
                <c:pt idx="23">
                  <c:v>77.744259517149217</c:v>
                </c:pt>
                <c:pt idx="24">
                  <c:v>76.145637075599836</c:v>
                </c:pt>
                <c:pt idx="25">
                  <c:v>74.647082236560777</c:v>
                </c:pt>
                <c:pt idx="26">
                  <c:v>73.2411912658142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8320067639511</c:v>
                </c:pt>
                <c:pt idx="1">
                  <c:v>0.6540490498456345</c:v>
                </c:pt>
                <c:pt idx="2">
                  <c:v>0.65962890388038242</c:v>
                </c:pt>
                <c:pt idx="3">
                  <c:v>0.6650316196918048</c:v>
                </c:pt>
                <c:pt idx="4">
                  <c:v>0.67026550063412027</c:v>
                </c:pt>
                <c:pt idx="5">
                  <c:v>0.67533833908590302</c:v>
                </c:pt>
                <c:pt idx="6">
                  <c:v>0.68025745516035918</c:v>
                </c:pt>
                <c:pt idx="7">
                  <c:v>0.6850297319490104</c:v>
                </c:pt>
                <c:pt idx="8">
                  <c:v>0.68966164765564264</c:v>
                </c:pt>
                <c:pt idx="9">
                  <c:v>0.69415930493599576</c:v>
                </c:pt>
                <c:pt idx="10">
                  <c:v>0.69852845772262429</c:v>
                </c:pt>
                <c:pt idx="11">
                  <c:v>0.70277453578286897</c:v>
                </c:pt>
                <c:pt idx="12">
                  <c:v>0.70690266723032913</c:v>
                </c:pt>
                <c:pt idx="13">
                  <c:v>0.71091769918607817</c:v>
                </c:pt>
                <c:pt idx="14">
                  <c:v>0.71482421676464469</c:v>
                </c:pt>
                <c:pt idx="15">
                  <c:v>0.71862656054111607</c:v>
                </c:pt>
                <c:pt idx="16">
                  <c:v>0.72232884263925912</c:v>
                </c:pt>
                <c:pt idx="17">
                  <c:v>0.725934961566022</c:v>
                </c:pt>
                <c:pt idx="18">
                  <c:v>0.72944861590491916</c:v>
                </c:pt>
                <c:pt idx="19">
                  <c:v>0.73287331696941393</c:v>
                </c:pt>
                <c:pt idx="20">
                  <c:v>0.73621240050729608</c:v>
                </c:pt>
                <c:pt idx="21">
                  <c:v>0.73946903753807047</c:v>
                </c:pt>
                <c:pt idx="22">
                  <c:v>0.74264624439736227</c:v>
                </c:pt>
                <c:pt idx="23">
                  <c:v>0.74574689205522537</c:v>
                </c:pt>
                <c:pt idx="24">
                  <c:v>0.74877371476885357</c:v>
                </c:pt>
                <c:pt idx="25">
                  <c:v>0.75172931812451416</c:v>
                </c:pt>
                <c:pt idx="26">
                  <c:v>0.754616186518415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2225726882627598</c:v>
                </c:pt>
                <c:pt idx="1">
                  <c:v>8.9483417257716885E-2</c:v>
                </c:pt>
                <c:pt idx="2">
                  <c:v>8.4214073849992119E-2</c:v>
                </c:pt>
                <c:pt idx="3">
                  <c:v>7.0651318629613921E-2</c:v>
                </c:pt>
                <c:pt idx="4">
                  <c:v>5.4425530232698839E-2</c:v>
                </c:pt>
                <c:pt idx="5">
                  <c:v>4.9659510871015548E-2</c:v>
                </c:pt>
                <c:pt idx="6">
                  <c:v>4.6920476087750893E-2</c:v>
                </c:pt>
                <c:pt idx="7">
                  <c:v>4.1700699137483595E-2</c:v>
                </c:pt>
                <c:pt idx="8">
                  <c:v>3.9609013941580409E-2</c:v>
                </c:pt>
                <c:pt idx="9">
                  <c:v>3.40898853203030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 &amp; Refresh Sport Lotion FPS50 200ml (5.8%)</c:v>
                </c:pt>
                <c:pt idx="7">
                  <c:v>Nivea Sun Protection &amp; Hydration Lotion FPS50+ 125ml (4.5%)</c:v>
                </c:pt>
                <c:pt idx="8">
                  <c:v>Banana Boat Aqua Protect Cream FPS50+ 236ml (2.7%)</c:v>
                </c:pt>
                <c:pt idx="9">
                  <c:v>Banana Boat Aqua Protect Sport Lotion FPS50+ 236ml (3.1%)</c:v>
                </c:pt>
              </c:strCache>
            </c:strRef>
          </c:cat>
          <c:val>
            <c:numRef>
              <c:f>Sheet1!$B$2:$B$11</c:f>
              <c:numCache>
                <c:formatCode>General</c:formatCode>
                <c:ptCount val="10"/>
                <c:pt idx="0">
                  <c:v>0.13033193614301455</c:v>
                </c:pt>
                <c:pt idx="1">
                  <c:v>0.10633109480802402</c:v>
                </c:pt>
                <c:pt idx="2">
                  <c:v>0.10157186065685748</c:v>
                </c:pt>
                <c:pt idx="3">
                  <c:v>6.6250528525767127E-2</c:v>
                </c:pt>
                <c:pt idx="4">
                  <c:v>5.4829497316148258E-2</c:v>
                </c:pt>
                <c:pt idx="5">
                  <c:v>4.356459302944133E-2</c:v>
                </c:pt>
                <c:pt idx="6">
                  <c:v>3.8441491765081284E-2</c:v>
                </c:pt>
                <c:pt idx="7">
                  <c:v>3.7860100297428395E-2</c:v>
                </c:pt>
                <c:pt idx="8">
                  <c:v>3.6459951185690426E-2</c:v>
                </c:pt>
                <c:pt idx="9">
                  <c:v>3.302961292981779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heer Touch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4384771321140711</c:v>
                </c:pt>
                <c:pt idx="1">
                  <c:v>0.28858769074258833</c:v>
                </c:pt>
                <c:pt idx="2">
                  <c:v>0</c:v>
                </c:pt>
                <c:pt idx="3">
                  <c:v>-0.22616915658888054</c:v>
                </c:pt>
                <c:pt idx="4">
                  <c:v>-0.2679184559648158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heer Touch Lotion FPS3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0</c:v>
                </c:pt>
                <c:pt idx="2">
                  <c:v>300</c:v>
                </c:pt>
                <c:pt idx="3">
                  <c:v>330</c:v>
                </c:pt>
                <c:pt idx="4">
                  <c:v>360</c:v>
                </c:pt>
              </c:numCache>
            </c:numRef>
          </c:xVal>
          <c:yVal>
            <c:numRef>
              <c:f>Sheet1!$B$9:$B$13</c:f>
              <c:numCache>
                <c:formatCode>General</c:formatCode>
                <c:ptCount val="5"/>
                <c:pt idx="0">
                  <c:v>0.74568504799884661</c:v>
                </c:pt>
                <c:pt idx="1">
                  <c:v>0.56423896033767518</c:v>
                </c:pt>
                <c:pt idx="2">
                  <c:v>0</c:v>
                </c:pt>
                <c:pt idx="3">
                  <c:v>-0.24218645762540023</c:v>
                </c:pt>
                <c:pt idx="4">
                  <c:v>-0.3936228490334082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heer Touch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39347921195443686</c:v>
                </c:pt>
                <c:pt idx="1">
                  <c:v>0.31823028228885863</c:v>
                </c:pt>
                <c:pt idx="2">
                  <c:v>0</c:v>
                </c:pt>
                <c:pt idx="3">
                  <c:v>-0.1932235767745335</c:v>
                </c:pt>
                <c:pt idx="4">
                  <c:v>-0.414561711826034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175"/>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3238621463419038</c:v>
                </c:pt>
                <c:pt idx="1">
                  <c:v>0.15463024936007638</c:v>
                </c:pt>
                <c:pt idx="2">
                  <c:v>0.12977704815868846</c:v>
                </c:pt>
                <c:pt idx="3">
                  <c:v>0.12390517443919834</c:v>
                </c:pt>
                <c:pt idx="4">
                  <c:v>8.2170077820610296E-2</c:v>
                </c:pt>
                <c:pt idx="5">
                  <c:v>4.9431739359167122E-2</c:v>
                </c:pt>
                <c:pt idx="6">
                  <c:v>3.7124885959892363E-2</c:v>
                </c:pt>
                <c:pt idx="7">
                  <c:v>3.5618545373021636E-2</c:v>
                </c:pt>
                <c:pt idx="8">
                  <c:v>1.7627533859832855E-2</c:v>
                </c:pt>
                <c:pt idx="9">
                  <c:v>1.437601989350781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4.38477132114068</c:v>
                </c:pt>
                <c:pt idx="1">
                  <c:v>132.50093833352864</c:v>
                </c:pt>
                <c:pt idx="2">
                  <c:v>130.65933638982216</c:v>
                </c:pt>
                <c:pt idx="3">
                  <c:v>128.85876907425887</c:v>
                </c:pt>
                <c:pt idx="4">
                  <c:v>117.83435834517779</c:v>
                </c:pt>
                <c:pt idx="5">
                  <c:v>108.28820997060342</c:v>
                </c:pt>
                <c:pt idx="6">
                  <c:v>100</c:v>
                </c:pt>
                <c:pt idx="7">
                  <c:v>92.785535432014427</c:v>
                </c:pt>
                <c:pt idx="8">
                  <c:v>86.494071497815654</c:v>
                </c:pt>
                <c:pt idx="9">
                  <c:v>83.94457663498342</c:v>
                </c:pt>
                <c:pt idx="10">
                  <c:v>81.592374644690551</c:v>
                </c:pt>
                <c:pt idx="11">
                  <c:v>79.412299830220874</c:v>
                </c:pt>
                <c:pt idx="12">
                  <c:v>77.383084341111925</c:v>
                </c:pt>
                <c:pt idx="13">
                  <c:v>76.522423281911216</c:v>
                </c:pt>
                <c:pt idx="14">
                  <c:v>75.674787648827845</c:v>
                </c:pt>
                <c:pt idx="15">
                  <c:v>74.839989430204838</c:v>
                </c:pt>
                <c:pt idx="16">
                  <c:v>74.017840857224797</c:v>
                </c:pt>
                <c:pt idx="17">
                  <c:v>73.20815440351844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4.94191663242491</c:v>
                </c:pt>
                <c:pt idx="1">
                  <c:v>116.52475222540689</c:v>
                </c:pt>
                <c:pt idx="2">
                  <c:v>118.05379288481828</c:v>
                </c:pt>
                <c:pt idx="3">
                  <c:v>119.53108505963277</c:v>
                </c:pt>
                <c:pt idx="4">
                  <c:v>112.14506597356464</c:v>
                </c:pt>
                <c:pt idx="5">
                  <c:v>105.6728610158642</c:v>
                </c:pt>
                <c:pt idx="6">
                  <c:v>100</c:v>
                </c:pt>
                <c:pt idx="7">
                  <c:v>95.028081084100236</c:v>
                </c:pt>
                <c:pt idx="8">
                  <c:v>90.676224599240072</c:v>
                </c:pt>
                <c:pt idx="9">
                  <c:v>90.029768624432776</c:v>
                </c:pt>
                <c:pt idx="10">
                  <c:v>89.476685975866971</c:v>
                </c:pt>
                <c:pt idx="11">
                  <c:v>89.003020791711563</c:v>
                </c:pt>
                <c:pt idx="12">
                  <c:v>88.596860770605304</c:v>
                </c:pt>
                <c:pt idx="13">
                  <c:v>89.459753629492411</c:v>
                </c:pt>
                <c:pt idx="14">
                  <c:v>90.296309398983581</c:v>
                </c:pt>
                <c:pt idx="15">
                  <c:v>91.107265765042328</c:v>
                </c:pt>
                <c:pt idx="16">
                  <c:v>91.893341218182073</c:v>
                </c:pt>
                <c:pt idx="17">
                  <c:v>92.6552351536617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0.28386871961609</c:v>
                </c:pt>
                <c:pt idx="1">
                  <c:v>104.48188064131556</c:v>
                </c:pt>
                <c:pt idx="2">
                  <c:v>108.55563490437348</c:v>
                </c:pt>
                <c:pt idx="3">
                  <c:v>112.50944507588414</c:v>
                </c:pt>
                <c:pt idx="4">
                  <c:v>107.86731139102645</c:v>
                </c:pt>
                <c:pt idx="5">
                  <c:v>103.70841809786155</c:v>
                </c:pt>
                <c:pt idx="6">
                  <c:v>100</c:v>
                </c:pt>
                <c:pt idx="7">
                  <c:v>96.709678616160645</c:v>
                </c:pt>
                <c:pt idx="8">
                  <c:v>93.810192907405579</c:v>
                </c:pt>
                <c:pt idx="9">
                  <c:v>94.59528431418552</c:v>
                </c:pt>
                <c:pt idx="10">
                  <c:v>95.395395098234047</c:v>
                </c:pt>
                <c:pt idx="11">
                  <c:v>96.20507004301308</c:v>
                </c:pt>
                <c:pt idx="12">
                  <c:v>97.01948358620038</c:v>
                </c:pt>
                <c:pt idx="13">
                  <c:v>99.176758470100509</c:v>
                </c:pt>
                <c:pt idx="14">
                  <c:v>101.27866659665801</c:v>
                </c:pt>
                <c:pt idx="15">
                  <c:v>103.32660102877371</c:v>
                </c:pt>
                <c:pt idx="16">
                  <c:v>105.32192336887054</c:v>
                </c:pt>
                <c:pt idx="17">
                  <c:v>107.26596380967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0413681282341039</c:v>
                </c:pt>
                <c:pt idx="1">
                  <c:v>0.51791079024498221</c:v>
                </c:pt>
                <c:pt idx="2">
                  <c:v>0.53094022834646915</c:v>
                </c:pt>
                <c:pt idx="3">
                  <c:v>0.54328390654787795</c:v>
                </c:pt>
                <c:pt idx="4">
                  <c:v>0.55499457561075261</c:v>
                </c:pt>
                <c:pt idx="5">
                  <c:v>0.56611971122048399</c:v>
                </c:pt>
                <c:pt idx="6">
                  <c:v>0.57670215728827701</c:v>
                </c:pt>
                <c:pt idx="7">
                  <c:v>0.58678067735284167</c:v>
                </c:pt>
                <c:pt idx="8">
                  <c:v>0.59639042904231065</c:v>
                </c:pt>
                <c:pt idx="9">
                  <c:v>0.60556337383680359</c:v>
                </c:pt>
                <c:pt idx="10">
                  <c:v>0.61432863219598577</c:v>
                </c:pt>
                <c:pt idx="11">
                  <c:v>0.62271279236563826</c:v>
                </c:pt>
                <c:pt idx="12">
                  <c:v>0.63074017976211405</c:v>
                </c:pt>
                <c:pt idx="13">
                  <c:v>0.6384330926837366</c:v>
                </c:pt>
                <c:pt idx="14">
                  <c:v>0.6458120091595787</c:v>
                </c:pt>
                <c:pt idx="15">
                  <c:v>0.65289576897638724</c:v>
                </c:pt>
                <c:pt idx="16">
                  <c:v>0.65970173429057577</c:v>
                </c:pt>
                <c:pt idx="17">
                  <c:v>0.666245931708064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Hawaiian Tropic Sheer Touch Lotion FPS50+ 240ml (4.4%)</c:v>
                </c:pt>
                <c:pt idx="2">
                  <c:v>Nivea Sun Protection &amp; Hydration Lotion FPS50+ 125ml (4.5%)</c:v>
                </c:pt>
                <c:pt idx="3">
                  <c:v>Nivea Sun Protection &amp; Hydration Cream FPS50+ 200ml (9.5%)</c:v>
                </c:pt>
                <c:pt idx="4">
                  <c:v>Hawaiian Tropic Island Sport Lotion FPS50 240ml (3.6%)</c:v>
                </c:pt>
                <c:pt idx="5">
                  <c:v>Nivea Sun Protection Sensitive Skin Gel FPS50+ 200ml (5.1%)</c:v>
                </c:pt>
                <c:pt idx="6">
                  <c:v>Equate Ultra Spray FPS50 156g (1.7%)</c:v>
                </c:pt>
                <c:pt idx="7">
                  <c:v>Hawaiian Tropic Sheer Touch Lotion FPS30 240ml (1.7%)</c:v>
                </c:pt>
                <c:pt idx="8">
                  <c:v>Caribbean Beach Ultra Cream FPS50+ 250g (1.2%)</c:v>
                </c:pt>
                <c:pt idx="9">
                  <c:v>Caribbean Beach Kids Cream FPS50+ 250g (0.9%)</c:v>
                </c:pt>
              </c:strCache>
            </c:strRef>
          </c:cat>
          <c:val>
            <c:numRef>
              <c:f>Sheet1!$B$2:$B$11</c:f>
              <c:numCache>
                <c:formatCode>General</c:formatCode>
                <c:ptCount val="10"/>
                <c:pt idx="0">
                  <c:v>6.8072100374419631E-2</c:v>
                </c:pt>
                <c:pt idx="1">
                  <c:v>6.5150989762898487E-2</c:v>
                </c:pt>
                <c:pt idx="2">
                  <c:v>5.7992191337717956E-2</c:v>
                </c:pt>
                <c:pt idx="3">
                  <c:v>5.7124599391338897E-2</c:v>
                </c:pt>
                <c:pt idx="4">
                  <c:v>5.1087921194670198E-2</c:v>
                </c:pt>
                <c:pt idx="5">
                  <c:v>4.1730924102360012E-2</c:v>
                </c:pt>
                <c:pt idx="6">
                  <c:v>3.6875036306954025E-2</c:v>
                </c:pt>
                <c:pt idx="7">
                  <c:v>3.6742373930271785E-2</c:v>
                </c:pt>
                <c:pt idx="8">
                  <c:v>3.5462274469331548E-2</c:v>
                </c:pt>
                <c:pt idx="9">
                  <c:v>3.20789414461417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240ml (4.4%)</c:v>
                </c:pt>
                <c:pt idx="4">
                  <c:v>Equate Ultra Spray FPS50 156g (1.7%)</c:v>
                </c:pt>
                <c:pt idx="5">
                  <c:v>Hawaiian Tropic Island Sport Lotion FPS50 240ml (3.6%)</c:v>
                </c:pt>
                <c:pt idx="6">
                  <c:v>Hawaiian Tropic Ozono Lotion FPS50+ 120ml (0.9%)</c:v>
                </c:pt>
                <c:pt idx="7">
                  <c:v>Nivea Sun Protection Sensitive Skin Gel FPS50+ 200ml (5.1%)</c:v>
                </c:pt>
                <c:pt idx="8">
                  <c:v>Caribbean Beach Ultra Cream FPS50+ 250g (1.2%)</c:v>
                </c:pt>
                <c:pt idx="9">
                  <c:v>Caribbean Beach Kids Cream FPS50+ 250g (0.9%)</c:v>
                </c:pt>
              </c:strCache>
            </c:strRef>
          </c:cat>
          <c:val>
            <c:numRef>
              <c:f>Sheet1!$B$2:$B$11</c:f>
              <c:numCache>
                <c:formatCode>General</c:formatCode>
                <c:ptCount val="10"/>
                <c:pt idx="0">
                  <c:v>6.4178790360328253E-2</c:v>
                </c:pt>
                <c:pt idx="1">
                  <c:v>5.697309016729514E-2</c:v>
                </c:pt>
                <c:pt idx="2">
                  <c:v>5.570784048622314E-2</c:v>
                </c:pt>
                <c:pt idx="3">
                  <c:v>4.8878720756726703E-2</c:v>
                </c:pt>
                <c:pt idx="4">
                  <c:v>4.5778190171121592E-2</c:v>
                </c:pt>
                <c:pt idx="5">
                  <c:v>4.2243183582167769E-2</c:v>
                </c:pt>
                <c:pt idx="6">
                  <c:v>3.5753954816050565E-2</c:v>
                </c:pt>
                <c:pt idx="7">
                  <c:v>3.5480463780936736E-2</c:v>
                </c:pt>
                <c:pt idx="8">
                  <c:v>3.4124937023998388E-2</c:v>
                </c:pt>
                <c:pt idx="9">
                  <c:v>3.239379098688008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74.56850479988452</c:v>
                </c:pt>
                <c:pt idx="1">
                  <c:v>164.89307708183844</c:v>
                </c:pt>
                <c:pt idx="2">
                  <c:v>156.42389603376753</c:v>
                </c:pt>
                <c:pt idx="3">
                  <c:v>148.94815526624592</c:v>
                </c:pt>
                <c:pt idx="4">
                  <c:v>146.41290991943137</c:v>
                </c:pt>
                <c:pt idx="5">
                  <c:v>143.94361808514296</c:v>
                </c:pt>
                <c:pt idx="6">
                  <c:v>141.53814006253106</c:v>
                </c:pt>
                <c:pt idx="7">
                  <c:v>118.15564489063195</c:v>
                </c:pt>
                <c:pt idx="8">
                  <c:v>100</c:v>
                </c:pt>
                <c:pt idx="9">
                  <c:v>97.469003694413686</c:v>
                </c:pt>
                <c:pt idx="10">
                  <c:v>95.215577806039548</c:v>
                </c:pt>
                <c:pt idx="11">
                  <c:v>93.187084439208064</c:v>
                </c:pt>
                <c:pt idx="12">
                  <c:v>86.509855707056303</c:v>
                </c:pt>
                <c:pt idx="13">
                  <c:v>80.754166798539671</c:v>
                </c:pt>
                <c:pt idx="14">
                  <c:v>75.781354237459965</c:v>
                </c:pt>
                <c:pt idx="15">
                  <c:v>71.466516798994235</c:v>
                </c:pt>
                <c:pt idx="16">
                  <c:v>69.512954000598157</c:v>
                </c:pt>
                <c:pt idx="17">
                  <c:v>67.656118468846245</c:v>
                </c:pt>
                <c:pt idx="18">
                  <c:v>65.88949962609675</c:v>
                </c:pt>
                <c:pt idx="19">
                  <c:v>63.123434262145039</c:v>
                </c:pt>
                <c:pt idx="20">
                  <c:v>60.6377150966591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52.00879614173274</c:v>
                </c:pt>
                <c:pt idx="1">
                  <c:v>146.25563548198528</c:v>
                </c:pt>
                <c:pt idx="2">
                  <c:v>141.28344010249728</c:v>
                </c:pt>
                <c:pt idx="3">
                  <c:v>136.95373345360696</c:v>
                </c:pt>
                <c:pt idx="4">
                  <c:v>137.02856074786007</c:v>
                </c:pt>
                <c:pt idx="5">
                  <c:v>137.08264216530736</c:v>
                </c:pt>
                <c:pt idx="6">
                  <c:v>137.11718715168792</c:v>
                </c:pt>
                <c:pt idx="7">
                  <c:v>116.29584723562773</c:v>
                </c:pt>
                <c:pt idx="8">
                  <c:v>100</c:v>
                </c:pt>
                <c:pt idx="9">
                  <c:v>99.068828649590685</c:v>
                </c:pt>
                <c:pt idx="10">
                  <c:v>98.342259899196534</c:v>
                </c:pt>
                <c:pt idx="11">
                  <c:v>97.778440724909444</c:v>
                </c:pt>
                <c:pt idx="12">
                  <c:v>92.184306805896327</c:v>
                </c:pt>
                <c:pt idx="13">
                  <c:v>87.371442814887246</c:v>
                </c:pt>
                <c:pt idx="14">
                  <c:v>83.231951078972287</c:v>
                </c:pt>
                <c:pt idx="15">
                  <c:v>79.664444014527149</c:v>
                </c:pt>
                <c:pt idx="16">
                  <c:v>78.630385268696116</c:v>
                </c:pt>
                <c:pt idx="17">
                  <c:v>77.643280336650449</c:v>
                </c:pt>
                <c:pt idx="18">
                  <c:v>76.700291577091903</c:v>
                </c:pt>
                <c:pt idx="19">
                  <c:v>74.518640983898365</c:v>
                </c:pt>
                <c:pt idx="20">
                  <c:v>72.5820701317543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39.00568105742991</c:v>
                </c:pt>
                <c:pt idx="1">
                  <c:v>135.50028648127847</c:v>
                </c:pt>
                <c:pt idx="2">
                  <c:v>132.52407179227319</c:v>
                </c:pt>
                <c:pt idx="3">
                  <c:v>129.9834764766446</c:v>
                </c:pt>
                <c:pt idx="4">
                  <c:v>131.49940500325684</c:v>
                </c:pt>
                <c:pt idx="5">
                  <c:v>132.94712950459686</c:v>
                </c:pt>
                <c:pt idx="6">
                  <c:v>134.3296577339909</c:v>
                </c:pt>
                <c:pt idx="7">
                  <c:v>115.14683441087317</c:v>
                </c:pt>
                <c:pt idx="8">
                  <c:v>100</c:v>
                </c:pt>
                <c:pt idx="9">
                  <c:v>99.951032885984262</c:v>
                </c:pt>
                <c:pt idx="10">
                  <c:v>100.06487008664581</c:v>
                </c:pt>
                <c:pt idx="11">
                  <c:v>100.30605729484381</c:v>
                </c:pt>
                <c:pt idx="12">
                  <c:v>95.321682198959934</c:v>
                </c:pt>
                <c:pt idx="13">
                  <c:v>91.036112429344485</c:v>
                </c:pt>
                <c:pt idx="14">
                  <c:v>87.359898775608684</c:v>
                </c:pt>
                <c:pt idx="15">
                  <c:v>84.205683296455518</c:v>
                </c:pt>
                <c:pt idx="16">
                  <c:v>83.674024657498663</c:v>
                </c:pt>
                <c:pt idx="17">
                  <c:v>83.161767362012426</c:v>
                </c:pt>
                <c:pt idx="18">
                  <c:v>82.668132349447617</c:v>
                </c:pt>
                <c:pt idx="19">
                  <c:v>80.8051197857029</c:v>
                </c:pt>
                <c:pt idx="20">
                  <c:v>79.1672463250990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60134396380681188</c:v>
                </c:pt>
                <c:pt idx="1">
                  <c:v>0.60886577581045698</c:v>
                </c:pt>
                <c:pt idx="2">
                  <c:v>0.6161090021843374</c:v>
                </c:pt>
                <c:pt idx="3">
                  <c:v>0.62308883850825847</c:v>
                </c:pt>
                <c:pt idx="4">
                  <c:v>0.62981939496346817</c:v>
                </c:pt>
                <c:pt idx="5">
                  <c:v>0.63631379154305645</c:v>
                </c:pt>
                <c:pt idx="6">
                  <c:v>0.6425842434130038</c:v>
                </c:pt>
                <c:pt idx="7">
                  <c:v>0.64864213759244427</c:v>
                </c:pt>
                <c:pt idx="8">
                  <c:v>0.65449810196590352</c:v>
                </c:pt>
                <c:pt idx="9">
                  <c:v>0.6601620675074461</c:v>
                </c:pt>
                <c:pt idx="10">
                  <c:v>0.66564332448313257</c:v>
                </c:pt>
                <c:pt idx="11">
                  <c:v>0.6709505733008605</c:v>
                </c:pt>
                <c:pt idx="12">
                  <c:v>0.67609197059303472</c:v>
                </c:pt>
                <c:pt idx="13">
                  <c:v>0.68107517104544957</c:v>
                </c:pt>
                <c:pt idx="14">
                  <c:v>0.6859073654235488</c:v>
                </c:pt>
                <c:pt idx="15">
                  <c:v>0.6905953151933466</c:v>
                </c:pt>
                <c:pt idx="16">
                  <c:v>0.69514538408756199</c:v>
                </c:pt>
                <c:pt idx="17">
                  <c:v>0.69956356692687272</c:v>
                </c:pt>
                <c:pt idx="18">
                  <c:v>0.70385551597077456</c:v>
                </c:pt>
                <c:pt idx="19">
                  <c:v>0.70802656504160866</c:v>
                </c:pt>
                <c:pt idx="20">
                  <c:v>0.712081751638252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1791519966375612</c:v>
                </c:pt>
                <c:pt idx="1">
                  <c:v>9.8681553530116956E-2</c:v>
                </c:pt>
                <c:pt idx="2">
                  <c:v>9.8115241629095309E-2</c:v>
                </c:pt>
                <c:pt idx="3">
                  <c:v>7.5162278117921449E-2</c:v>
                </c:pt>
                <c:pt idx="4">
                  <c:v>5.9596016304511688E-2</c:v>
                </c:pt>
                <c:pt idx="5">
                  <c:v>5.3873584946462036E-2</c:v>
                </c:pt>
                <c:pt idx="6">
                  <c:v>4.2287688441440832E-2</c:v>
                </c:pt>
                <c:pt idx="7">
                  <c:v>3.4056936775116294E-2</c:v>
                </c:pt>
                <c:pt idx="8">
                  <c:v>3.0810200307865066E-2</c:v>
                </c:pt>
                <c:pt idx="9">
                  <c:v>2.883164051343327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0164315670026013</c:v>
                </c:pt>
                <c:pt idx="1">
                  <c:v>9.9764333270044428E-2</c:v>
                </c:pt>
                <c:pt idx="2">
                  <c:v>9.8533745220366273E-2</c:v>
                </c:pt>
                <c:pt idx="3">
                  <c:v>6.1895270969549193E-2</c:v>
                </c:pt>
                <c:pt idx="4">
                  <c:v>5.8803266032332629E-2</c:v>
                </c:pt>
                <c:pt idx="5">
                  <c:v>5.2305602090617354E-2</c:v>
                </c:pt>
                <c:pt idx="6">
                  <c:v>4.3594175491905994E-2</c:v>
                </c:pt>
                <c:pt idx="7">
                  <c:v>4.1967022572723965E-2</c:v>
                </c:pt>
                <c:pt idx="8">
                  <c:v>3.5380745133447626E-2</c:v>
                </c:pt>
                <c:pt idx="9">
                  <c:v>3.150658251807711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9.34792119544372</c:v>
                </c:pt>
                <c:pt idx="1">
                  <c:v>136.56671875829986</c:v>
                </c:pt>
                <c:pt idx="2">
                  <c:v>134.07525083743442</c:v>
                </c:pt>
                <c:pt idx="3">
                  <c:v>131.82302822888587</c:v>
                </c:pt>
                <c:pt idx="4">
                  <c:v>124.66605611168688</c:v>
                </c:pt>
                <c:pt idx="5">
                  <c:v>118.17777636944832</c:v>
                </c:pt>
                <c:pt idx="6">
                  <c:v>112.30685186926566</c:v>
                </c:pt>
                <c:pt idx="7">
                  <c:v>107.00136297162584</c:v>
                </c:pt>
                <c:pt idx="8">
                  <c:v>104.56973038635815</c:v>
                </c:pt>
                <c:pt idx="9">
                  <c:v>102.23795464142695</c:v>
                </c:pt>
                <c:pt idx="10">
                  <c:v>100</c:v>
                </c:pt>
                <c:pt idx="11">
                  <c:v>96.510864140575919</c:v>
                </c:pt>
                <c:pt idx="12">
                  <c:v>93.295738971237313</c:v>
                </c:pt>
                <c:pt idx="13">
                  <c:v>90.337399554779907</c:v>
                </c:pt>
                <c:pt idx="14">
                  <c:v>87.616856470878204</c:v>
                </c:pt>
                <c:pt idx="15">
                  <c:v>85.113846547499833</c:v>
                </c:pt>
                <c:pt idx="16">
                  <c:v>82.807593229984548</c:v>
                </c:pt>
                <c:pt idx="17">
                  <c:v>80.677642322546674</c:v>
                </c:pt>
                <c:pt idx="18">
                  <c:v>77.508343167977728</c:v>
                </c:pt>
                <c:pt idx="19">
                  <c:v>74.551390717264113</c:v>
                </c:pt>
                <c:pt idx="20">
                  <c:v>71.790190814264662</c:v>
                </c:pt>
                <c:pt idx="21">
                  <c:v>69.209209205876462</c:v>
                </c:pt>
                <c:pt idx="22">
                  <c:v>66.79406681186876</c:v>
                </c:pt>
                <c:pt idx="23">
                  <c:v>64.531546804464739</c:v>
                </c:pt>
                <c:pt idx="24">
                  <c:v>62.409548018127722</c:v>
                </c:pt>
                <c:pt idx="25">
                  <c:v>60.417010289440341</c:v>
                </c:pt>
                <c:pt idx="26">
                  <c:v>58.54382881739650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0.28045644198603</c:v>
                </c:pt>
                <c:pt idx="1">
                  <c:v>119.75443888342589</c:v>
                </c:pt>
                <c:pt idx="2">
                  <c:v>119.41244140688723</c:v>
                </c:pt>
                <c:pt idx="3">
                  <c:v>119.22001972731782</c:v>
                </c:pt>
                <c:pt idx="4">
                  <c:v>114.43237685061381</c:v>
                </c:pt>
                <c:pt idx="5">
                  <c:v>110.07944572702839</c:v>
                </c:pt>
                <c:pt idx="6">
                  <c:v>106.13852946069713</c:v>
                </c:pt>
                <c:pt idx="7">
                  <c:v>102.58385726305352</c:v>
                </c:pt>
                <c:pt idx="8">
                  <c:v>101.6910222976358</c:v>
                </c:pt>
                <c:pt idx="9">
                  <c:v>100.83040004386356</c:v>
                </c:pt>
                <c:pt idx="10">
                  <c:v>100</c:v>
                </c:pt>
                <c:pt idx="11">
                  <c:v>97.838882389609637</c:v>
                </c:pt>
                <c:pt idx="12">
                  <c:v>95.864844862014209</c:v>
                </c:pt>
                <c:pt idx="13">
                  <c:v>94.070946315804946</c:v>
                </c:pt>
                <c:pt idx="14">
                  <c:v>92.447488173829456</c:v>
                </c:pt>
                <c:pt idx="15">
                  <c:v>90.982411891717504</c:v>
                </c:pt>
                <c:pt idx="16">
                  <c:v>89.662028766326543</c:v>
                </c:pt>
                <c:pt idx="17">
                  <c:v>88.471895025070907</c:v>
                </c:pt>
                <c:pt idx="18">
                  <c:v>86.052674915837684</c:v>
                </c:pt>
                <c:pt idx="19">
                  <c:v>83.787568027879956</c:v>
                </c:pt>
                <c:pt idx="20">
                  <c:v>81.666028943959574</c:v>
                </c:pt>
                <c:pt idx="21">
                  <c:v>79.677886049270256</c:v>
                </c:pt>
                <c:pt idx="22">
                  <c:v>77.813516104586981</c:v>
                </c:pt>
                <c:pt idx="23">
                  <c:v>76.063923521167126</c:v>
                </c:pt>
                <c:pt idx="24">
                  <c:v>74.420757203139686</c:v>
                </c:pt>
                <c:pt idx="25">
                  <c:v>72.876290706124493</c:v>
                </c:pt>
                <c:pt idx="26">
                  <c:v>71.4233838038310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0.16755896812099</c:v>
                </c:pt>
                <c:pt idx="1">
                  <c:v>110.82855446679724</c:v>
                </c:pt>
                <c:pt idx="2">
                  <c:v>111.61426626533932</c:v>
                </c:pt>
                <c:pt idx="3">
                  <c:v>112.49980778587376</c:v>
                </c:pt>
                <c:pt idx="4">
                  <c:v>109.00252567542638</c:v>
                </c:pt>
                <c:pt idx="5">
                  <c:v>105.804178356302</c:v>
                </c:pt>
                <c:pt idx="6">
                  <c:v>102.8997373890746</c:v>
                </c:pt>
                <c:pt idx="7">
                  <c:v>100.27932828992432</c:v>
                </c:pt>
                <c:pt idx="8">
                  <c:v>100.19021387185241</c:v>
                </c:pt>
                <c:pt idx="9">
                  <c:v>100.09702528688484</c:v>
                </c:pt>
                <c:pt idx="10">
                  <c:v>100</c:v>
                </c:pt>
                <c:pt idx="11">
                  <c:v>98.531864490156977</c:v>
                </c:pt>
                <c:pt idx="12">
                  <c:v>97.203086040488643</c:v>
                </c:pt>
                <c:pt idx="13">
                  <c:v>96.012571496495937</c:v>
                </c:pt>
                <c:pt idx="14">
                  <c:v>94.955872617243656</c:v>
                </c:pt>
                <c:pt idx="15">
                  <c:v>94.025543440822403</c:v>
                </c:pt>
                <c:pt idx="16">
                  <c:v>93.21186282321942</c:v>
                </c:pt>
                <c:pt idx="17">
                  <c:v>92.503738933786806</c:v>
                </c:pt>
                <c:pt idx="18">
                  <c:v>90.492944645363366</c:v>
                </c:pt>
                <c:pt idx="19">
                  <c:v>88.601782788533868</c:v>
                </c:pt>
                <c:pt idx="20">
                  <c:v>86.823524317608999</c:v>
                </c:pt>
                <c:pt idx="21">
                  <c:v>85.151354265849321</c:v>
                </c:pt>
                <c:pt idx="22">
                  <c:v>83.578601930746842</c:v>
                </c:pt>
                <c:pt idx="23">
                  <c:v>82.098870831232233</c:v>
                </c:pt>
                <c:pt idx="24">
                  <c:v>80.706100150265343</c:v>
                </c:pt>
                <c:pt idx="25">
                  <c:v>79.394583436710803</c:v>
                </c:pt>
                <c:pt idx="26">
                  <c:v>78.158963268322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2923344422461713</c:v>
                </c:pt>
                <c:pt idx="1">
                  <c:v>0.63531158448322989</c:v>
                </c:pt>
                <c:pt idx="2">
                  <c:v>0.64119365570124232</c:v>
                </c:pt>
                <c:pt idx="3">
                  <c:v>0.64688899449963522</c:v>
                </c:pt>
                <c:pt idx="4">
                  <c:v>0.65240635396057844</c:v>
                </c:pt>
                <c:pt idx="5">
                  <c:v>0.65775394851503122</c:v>
                </c:pt>
                <c:pt idx="6">
                  <c:v>0.66293949474965186</c:v>
                </c:pt>
                <c:pt idx="7">
                  <c:v>0.66797024855935849</c:v>
                </c:pt>
                <c:pt idx="8">
                  <c:v>0.67285303902172089</c:v>
                </c:pt>
                <c:pt idx="9">
                  <c:v>0.67759429932575399</c:v>
                </c:pt>
                <c:pt idx="10">
                  <c:v>0.68220009504967194</c:v>
                </c:pt>
                <c:pt idx="11">
                  <c:v>0.68667615004897209</c:v>
                </c:pt>
                <c:pt idx="12">
                  <c:v>0.69102787018718081</c:v>
                </c:pt>
                <c:pt idx="13">
                  <c:v>0.69526036511612344</c:v>
                </c:pt>
                <c:pt idx="14">
                  <c:v>0.69937846829023009</c:v>
                </c:pt>
                <c:pt idx="15">
                  <c:v>0.70338675537969364</c:v>
                </c:pt>
                <c:pt idx="16">
                  <c:v>0.70728956122996089</c:v>
                </c:pt>
                <c:pt idx="17">
                  <c:v>0.71109099549970156</c:v>
                </c:pt>
                <c:pt idx="18">
                  <c:v>0.71479495709585938</c:v>
                </c:pt>
                <c:pt idx="19">
                  <c:v>0.7184051475123675</c:v>
                </c:pt>
                <c:pt idx="20">
                  <c:v>0.72192508316846282</c:v>
                </c:pt>
                <c:pt idx="21">
                  <c:v>0.72535810683304958</c:v>
                </c:pt>
                <c:pt idx="22">
                  <c:v>0.72870739821313446</c:v>
                </c:pt>
                <c:pt idx="23">
                  <c:v>0.7319759837768316</c:v>
                </c:pt>
                <c:pt idx="24">
                  <c:v>0.73516674587472652</c:v>
                </c:pt>
                <c:pt idx="25">
                  <c:v>0.73828243121737669</c:v>
                </c:pt>
                <c:pt idx="26">
                  <c:v>0.74132565876136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dvanced Protection Lotion FPS50+ 240ml (2.8%)</c:v>
                </c:pt>
                <c:pt idx="3">
                  <c:v>Hawaiian Tropic Island Sport Lotion FPS50 240ml (3.6%)</c:v>
                </c:pt>
                <c:pt idx="4">
                  <c:v>Hawaiian Tropic Sheer Touch Lotion FPS30 240ml (1.7%)</c:v>
                </c:pt>
                <c:pt idx="5">
                  <c:v>Nivea Sun Protection Sensitive Skin Gel FPS50+ 200ml (5.1%)</c:v>
                </c:pt>
                <c:pt idx="6">
                  <c:v>Banana Boat Aqua Protect Cream FPS50+ 236ml (2.7%)</c:v>
                </c:pt>
                <c:pt idx="7">
                  <c:v>Nivea Sun Protection &amp; Hydration Lotion FPS50+ 125ml (4.5%)</c:v>
                </c:pt>
                <c:pt idx="8">
                  <c:v>Banana Boat Aqua Protect Sport Lotion FPS50+ 236ml (3.1%)</c:v>
                </c:pt>
                <c:pt idx="9">
                  <c:v>Nivea Sun Protect &amp; Refresh Sport Lotion FPS50 200ml (5.8%)</c:v>
                </c:pt>
              </c:strCache>
            </c:strRef>
          </c:cat>
          <c:val>
            <c:numRef>
              <c:f>Sheet1!$B$2:$B$11</c:f>
              <c:numCache>
                <c:formatCode>General</c:formatCode>
                <c:ptCount val="10"/>
                <c:pt idx="0">
                  <c:v>0.110326186826444</c:v>
                </c:pt>
                <c:pt idx="1">
                  <c:v>0.10713860463618621</c:v>
                </c:pt>
                <c:pt idx="2">
                  <c:v>8.5173417451922084E-2</c:v>
                </c:pt>
                <c:pt idx="3">
                  <c:v>7.1385751593798938E-2</c:v>
                </c:pt>
                <c:pt idx="4">
                  <c:v>6.9064482098168428E-2</c:v>
                </c:pt>
                <c:pt idx="5">
                  <c:v>6.462434983050655E-2</c:v>
                </c:pt>
                <c:pt idx="6">
                  <c:v>4.2787648686772678E-2</c:v>
                </c:pt>
                <c:pt idx="7">
                  <c:v>4.2554284287400476E-2</c:v>
                </c:pt>
                <c:pt idx="8">
                  <c:v>3.677354258185888E-2</c:v>
                </c:pt>
                <c:pt idx="9">
                  <c:v>3.302940662013459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Cream FPS50+ 200ml (9.5%)</c:v>
                </c:pt>
                <c:pt idx="2">
                  <c:v>Hawaiian Tropic Island Sport Lotion FPS50 240ml (3.6%)</c:v>
                </c:pt>
                <c:pt idx="3">
                  <c:v>Banana Boat Advanced Protection Lotion FPS50+ 240ml (2.8%)</c:v>
                </c:pt>
                <c:pt idx="4">
                  <c:v>Nivea Sun Protection Sensitive Skin Gel FPS50+ 200ml (5.1%)</c:v>
                </c:pt>
                <c:pt idx="5">
                  <c:v>Hawaiian Tropic Sheer Touch Lotion FPS30 240ml (1.7%)</c:v>
                </c:pt>
                <c:pt idx="6">
                  <c:v>Banana Boat Aqua Protect Cream FPS50+ 236ml (2.7%)</c:v>
                </c:pt>
                <c:pt idx="7">
                  <c:v>Nivea Sun Protect &amp; Refresh Sport Lotion FPS50 200ml (5.8%)</c:v>
                </c:pt>
                <c:pt idx="8">
                  <c:v>Nivea Sun Protection &amp; Hydration Lotion FPS50+ 125ml (4.5%)</c:v>
                </c:pt>
                <c:pt idx="9">
                  <c:v>Banana Boat Aqua Protect Sport Lotion FPS50+ 236ml (3.1%)</c:v>
                </c:pt>
              </c:strCache>
            </c:strRef>
          </c:cat>
          <c:val>
            <c:numRef>
              <c:f>Sheet1!$B$2:$B$11</c:f>
              <c:numCache>
                <c:formatCode>General</c:formatCode>
                <c:ptCount val="10"/>
                <c:pt idx="0">
                  <c:v>0.12697288950335081</c:v>
                </c:pt>
                <c:pt idx="1">
                  <c:v>0.11045401263021572</c:v>
                </c:pt>
                <c:pt idx="2">
                  <c:v>9.3378577464858614E-2</c:v>
                </c:pt>
                <c:pt idx="3">
                  <c:v>8.1350241661714451E-2</c:v>
                </c:pt>
                <c:pt idx="4">
                  <c:v>6.3648455563363765E-2</c:v>
                </c:pt>
                <c:pt idx="5">
                  <c:v>6.2706585428342107E-2</c:v>
                </c:pt>
                <c:pt idx="6">
                  <c:v>3.638017432519787E-2</c:v>
                </c:pt>
                <c:pt idx="7">
                  <c:v>3.4574645124944535E-2</c:v>
                </c:pt>
                <c:pt idx="8">
                  <c:v>3.2641551890760116E-2</c:v>
                </c:pt>
                <c:pt idx="9">
                  <c:v>2.945744335135708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36071339329275792</c:v>
                </c:pt>
                <c:pt idx="1">
                  <c:v>0.23075001125061118</c:v>
                </c:pt>
                <c:pt idx="2">
                  <c:v>0</c:v>
                </c:pt>
                <c:pt idx="3">
                  <c:v>-0.11998703683995769</c:v>
                </c:pt>
                <c:pt idx="4">
                  <c:v>-0.3398131740461927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0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Nuvel (2.3%)</c:v>
                </c:pt>
                <c:pt idx="7">
                  <c:v>Garnier (1.7%)</c:v>
                </c:pt>
                <c:pt idx="8">
                  <c:v>Isdin (1.8%)</c:v>
                </c:pt>
                <c:pt idx="9">
                  <c:v>L'Oreal Paris (0.9%)</c:v>
                </c:pt>
              </c:strCache>
            </c:strRef>
          </c:cat>
          <c:val>
            <c:numRef>
              <c:f>Sheet1!$B$2:$B$11</c:f>
              <c:numCache>
                <c:formatCode>General</c:formatCode>
                <c:ptCount val="10"/>
                <c:pt idx="0">
                  <c:v>0.3572165458726787</c:v>
                </c:pt>
                <c:pt idx="1">
                  <c:v>0.18038637160498056</c:v>
                </c:pt>
                <c:pt idx="2">
                  <c:v>0.12431553333059973</c:v>
                </c:pt>
                <c:pt idx="3">
                  <c:v>8.4456719808790798E-2</c:v>
                </c:pt>
                <c:pt idx="4">
                  <c:v>8.0800390230156352E-2</c:v>
                </c:pt>
                <c:pt idx="5">
                  <c:v>3.6790393198978193E-2</c:v>
                </c:pt>
                <c:pt idx="6">
                  <c:v>3.0543237303960143E-2</c:v>
                </c:pt>
                <c:pt idx="7">
                  <c:v>2.7259609105778432E-2</c:v>
                </c:pt>
                <c:pt idx="8">
                  <c:v>2.1264938511112892E-2</c:v>
                </c:pt>
                <c:pt idx="9">
                  <c:v>1.584933246027199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6.07133932927582</c:v>
                </c:pt>
                <c:pt idx="1">
                  <c:v>131.04969945939743</c:v>
                </c:pt>
                <c:pt idx="2">
                  <c:v>126.7745736670482</c:v>
                </c:pt>
                <c:pt idx="3">
                  <c:v>123.07500112506109</c:v>
                </c:pt>
                <c:pt idx="4">
                  <c:v>118.01419599379967</c:v>
                </c:pt>
                <c:pt idx="5">
                  <c:v>113.61961366491087</c:v>
                </c:pt>
                <c:pt idx="6">
                  <c:v>109.76556451834681</c:v>
                </c:pt>
                <c:pt idx="7">
                  <c:v>106.35238205788744</c:v>
                </c:pt>
                <c:pt idx="8">
                  <c:v>104.12650377541777</c:v>
                </c:pt>
                <c:pt idx="9">
                  <c:v>102.01234247083096</c:v>
                </c:pt>
                <c:pt idx="10">
                  <c:v>100</c:v>
                </c:pt>
                <c:pt idx="11">
                  <c:v>97.903875867516916</c:v>
                </c:pt>
                <c:pt idx="12">
                  <c:v>95.964010018380989</c:v>
                </c:pt>
                <c:pt idx="13">
                  <c:v>94.160131953217686</c:v>
                </c:pt>
                <c:pt idx="14">
                  <c:v>92.475198843559625</c:v>
                </c:pt>
                <c:pt idx="15">
                  <c:v>90.894855550530593</c:v>
                </c:pt>
                <c:pt idx="16">
                  <c:v>89.406978779107135</c:v>
                </c:pt>
                <c:pt idx="17">
                  <c:v>88.001296316004201</c:v>
                </c:pt>
                <c:pt idx="18">
                  <c:v>84.881895310696024</c:v>
                </c:pt>
                <c:pt idx="19">
                  <c:v>81.969463492201626</c:v>
                </c:pt>
                <c:pt idx="20">
                  <c:v>79.245154234992128</c:v>
                </c:pt>
                <c:pt idx="21">
                  <c:v>76.692106156149748</c:v>
                </c:pt>
                <c:pt idx="22">
                  <c:v>74.295222352523766</c:v>
                </c:pt>
                <c:pt idx="23">
                  <c:v>72.040972870694759</c:v>
                </c:pt>
                <c:pt idx="24">
                  <c:v>69.91721898330465</c:v>
                </c:pt>
                <c:pt idx="25">
                  <c:v>67.913057423141638</c:v>
                </c:pt>
                <c:pt idx="26">
                  <c:v>66.0186825953807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6.81896447491214</c:v>
                </c:pt>
                <c:pt idx="1">
                  <c:v>114.3556243748308</c:v>
                </c:pt>
                <c:pt idx="2">
                  <c:v>112.41427656637954</c:v>
                </c:pt>
                <c:pt idx="3">
                  <c:v>110.87193265987597</c:v>
                </c:pt>
                <c:pt idx="4">
                  <c:v>107.98434183867363</c:v>
                </c:pt>
                <c:pt idx="5">
                  <c:v>105.57283605546361</c:v>
                </c:pt>
                <c:pt idx="6">
                  <c:v>103.54703550552928</c:v>
                </c:pt>
                <c:pt idx="7">
                  <c:v>101.8343936643447</c:v>
                </c:pt>
                <c:pt idx="8">
                  <c:v>101.17744645084387</c:v>
                </c:pt>
                <c:pt idx="9">
                  <c:v>100.56770559226244</c:v>
                </c:pt>
                <c:pt idx="10">
                  <c:v>100</c:v>
                </c:pt>
                <c:pt idx="11">
                  <c:v>99.292532023069853</c:v>
                </c:pt>
                <c:pt idx="12">
                  <c:v>98.68632506091717</c:v>
                </c:pt>
                <c:pt idx="13">
                  <c:v>98.166881103037497</c:v>
                </c:pt>
                <c:pt idx="14">
                  <c:v>97.721966324964043</c:v>
                </c:pt>
                <c:pt idx="15">
                  <c:v>97.341260857664238</c:v>
                </c:pt>
                <c:pt idx="16">
                  <c:v>97.016054121031274</c:v>
                </c:pt>
                <c:pt idx="17">
                  <c:v>96.738984064933604</c:v>
                </c:pt>
                <c:pt idx="18">
                  <c:v>94.508720469384286</c:v>
                </c:pt>
                <c:pt idx="19">
                  <c:v>92.424119886011212</c:v>
                </c:pt>
                <c:pt idx="20">
                  <c:v>90.472359926688355</c:v>
                </c:pt>
                <c:pt idx="21">
                  <c:v>88.64186122659261</c:v>
                </c:pt>
                <c:pt idx="22">
                  <c:v>86.922166938425519</c:v>
                </c:pt>
                <c:pt idx="23">
                  <c:v>85.303831485953737</c:v>
                </c:pt>
                <c:pt idx="24">
                  <c:v>83.778319077924735</c:v>
                </c:pt>
                <c:pt idx="25">
                  <c:v>82.337911825998106</c:v>
                </c:pt>
                <c:pt idx="26">
                  <c:v>80.97562695410748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5.73178685895206</c:v>
                </c:pt>
                <c:pt idx="1">
                  <c:v>104.75180067108296</c:v>
                </c:pt>
                <c:pt idx="2">
                  <c:v>104.1612365829365</c:v>
                </c:pt>
                <c:pt idx="3">
                  <c:v>103.8657515433537</c:v>
                </c:pt>
                <c:pt idx="4">
                  <c:v>102.22616344008483</c:v>
                </c:pt>
                <c:pt idx="5">
                  <c:v>100.9528454555426</c:v>
                </c:pt>
                <c:pt idx="6">
                  <c:v>99.975881781175175</c:v>
                </c:pt>
                <c:pt idx="7">
                  <c:v>99.238429130634259</c:v>
                </c:pt>
                <c:pt idx="8">
                  <c:v>99.483128410086834</c:v>
                </c:pt>
                <c:pt idx="9">
                  <c:v>99.737793816962665</c:v>
                </c:pt>
                <c:pt idx="10">
                  <c:v>100</c:v>
                </c:pt>
                <c:pt idx="11">
                  <c:v>100.08681886901311</c:v>
                </c:pt>
                <c:pt idx="12">
                  <c:v>100.24339042510992</c:v>
                </c:pt>
                <c:pt idx="13">
                  <c:v>100.45854044560602</c:v>
                </c:pt>
                <c:pt idx="14">
                  <c:v>100.72280237666939</c:v>
                </c:pt>
                <c:pt idx="15">
                  <c:v>101.02817698637132</c:v>
                </c:pt>
                <c:pt idx="16">
                  <c:v>101.367915169912</c:v>
                </c:pt>
                <c:pt idx="17">
                  <c:v>101.73632657393772</c:v>
                </c:pt>
                <c:pt idx="18">
                  <c:v>100.0226515008149</c:v>
                </c:pt>
                <c:pt idx="19">
                  <c:v>98.418373055082483</c:v>
                </c:pt>
                <c:pt idx="20">
                  <c:v>96.914286667894899</c:v>
                </c:pt>
                <c:pt idx="21">
                  <c:v>95.50197904546495</c:v>
                </c:pt>
                <c:pt idx="22">
                  <c:v>94.173769661336394</c:v>
                </c:pt>
                <c:pt idx="23">
                  <c:v>92.922652681862445</c:v>
                </c:pt>
                <c:pt idx="24">
                  <c:v>91.742241079294047</c:v>
                </c:pt>
                <c:pt idx="25">
                  <c:v>90.626713869082849</c:v>
                </c:pt>
                <c:pt idx="26">
                  <c:v>89.5707669005376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8082479936804476</c:v>
                </c:pt>
                <c:pt idx="1">
                  <c:v>0.58769652396856886</c:v>
                </c:pt>
                <c:pt idx="2">
                  <c:v>0.59434658003359186</c:v>
                </c:pt>
                <c:pt idx="3">
                  <c:v>0.60078552320766176</c:v>
                </c:pt>
                <c:pt idx="4">
                  <c:v>0.60702324940754204</c:v>
                </c:pt>
                <c:pt idx="5">
                  <c:v>0.61306904557050301</c:v>
                </c:pt>
                <c:pt idx="6">
                  <c:v>0.6189316357891318</c:v>
                </c:pt>
                <c:pt idx="7">
                  <c:v>0.62461922331466713</c:v>
                </c:pt>
                <c:pt idx="8">
                  <c:v>0.63013952885415714</c:v>
                </c:pt>
                <c:pt idx="9">
                  <c:v>0.63549982553743023</c:v>
                </c:pt>
                <c:pt idx="10">
                  <c:v>0.64070697088689577</c:v>
                </c:pt>
                <c:pt idx="11">
                  <c:v>0.64576743608567189</c:v>
                </c:pt>
                <c:pt idx="12">
                  <c:v>0.6506873328067041</c:v>
                </c:pt>
                <c:pt idx="13">
                  <c:v>0.65547243783674913</c:v>
                </c:pt>
                <c:pt idx="14">
                  <c:v>0.66012821570382008</c:v>
                </c:pt>
                <c:pt idx="15">
                  <c:v>0.66465983949443586</c:v>
                </c:pt>
                <c:pt idx="16">
                  <c:v>0.6690722100274038</c:v>
                </c:pt>
                <c:pt idx="17">
                  <c:v>0.67336997353354144</c:v>
                </c:pt>
                <c:pt idx="18">
                  <c:v>0.67755753797541907</c:v>
                </c:pt>
                <c:pt idx="19">
                  <c:v>0.68163908812762897</c:v>
                </c:pt>
                <c:pt idx="20">
                  <c:v>0.68561859952603355</c:v>
                </c:pt>
                <c:pt idx="21">
                  <c:v>0.68949985138373704</c:v>
                </c:pt>
                <c:pt idx="22">
                  <c:v>0.69328643856198402</c:v>
                </c:pt>
                <c:pt idx="23">
                  <c:v>0.69698178267569522</c:v>
                </c:pt>
                <c:pt idx="24">
                  <c:v>0.70058914240574632</c:v>
                </c:pt>
                <c:pt idx="25">
                  <c:v>0.70411162308332575</c:v>
                </c:pt>
                <c:pt idx="26">
                  <c:v>0.707552185605612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Hawaiian Tropic Sheer Touch Lotion FPS30 240ml (1.7%)</c:v>
                </c:pt>
                <c:pt idx="5">
                  <c:v>Nivea Sun Protection Sensitive Skin Gel FPS50+ 200ml (5.1%)</c:v>
                </c:pt>
                <c:pt idx="6">
                  <c:v>Hawaiian Tropic Sheer Touch Lotion FPS50 120ml (1.4%)</c:v>
                </c:pt>
                <c:pt idx="7">
                  <c:v>Nivea Sun Protection &amp; Hydration Lotion FPS50+ 125ml (4.5%)</c:v>
                </c:pt>
                <c:pt idx="8">
                  <c:v>Banana Boat Advanced Protection Lotion FPS50+ 240ml (2.8%)</c:v>
                </c:pt>
                <c:pt idx="9">
                  <c:v>Nivea Sun Protect &amp; Refresh Sport Lotion FPS50 200ml (5.8%)</c:v>
                </c:pt>
              </c:strCache>
            </c:strRef>
          </c:cat>
          <c:val>
            <c:numRef>
              <c:f>Sheet1!$B$2:$B$11</c:f>
              <c:numCache>
                <c:formatCode>General</c:formatCode>
                <c:ptCount val="10"/>
                <c:pt idx="0">
                  <c:v>0.11932649966983695</c:v>
                </c:pt>
                <c:pt idx="1">
                  <c:v>0.10142381763151836</c:v>
                </c:pt>
                <c:pt idx="2">
                  <c:v>8.0410872705848652E-2</c:v>
                </c:pt>
                <c:pt idx="3">
                  <c:v>5.9305102276532601E-2</c:v>
                </c:pt>
                <c:pt idx="4">
                  <c:v>5.479773949219266E-2</c:v>
                </c:pt>
                <c:pt idx="5">
                  <c:v>4.8714948513657888E-2</c:v>
                </c:pt>
                <c:pt idx="6">
                  <c:v>4.0385119118589587E-2</c:v>
                </c:pt>
                <c:pt idx="7">
                  <c:v>3.9390498017542838E-2</c:v>
                </c:pt>
                <c:pt idx="8">
                  <c:v>3.8119627629995989E-2</c:v>
                </c:pt>
                <c:pt idx="9">
                  <c:v>2.995085515609225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Hawaiian Tropic Sheer Touch Lotion FPS30 240ml (1.7%)</c:v>
                </c:pt>
                <c:pt idx="6">
                  <c:v>Hawaiian Tropic Sheer Touch Lotion FPS50 120ml (1.4%)</c:v>
                </c:pt>
                <c:pt idx="7">
                  <c:v>Banana Boat Advanced Protection Lotion FPS50+ 240ml (2.8%)</c:v>
                </c:pt>
                <c:pt idx="8">
                  <c:v>Nivea Sun Protect &amp; Refresh Sport Lotion FPS50 200ml (5.8%)</c:v>
                </c:pt>
                <c:pt idx="9">
                  <c:v>Nivea Sun Protection &amp; Hydration Lotion FPS50+ 125ml (4.5%)</c:v>
                </c:pt>
              </c:strCache>
            </c:strRef>
          </c:cat>
          <c:val>
            <c:numRef>
              <c:f>Sheet1!$B$2:$B$11</c:f>
              <c:numCache>
                <c:formatCode>General</c:formatCode>
                <c:ptCount val="10"/>
                <c:pt idx="0">
                  <c:v>0.14323064622694637</c:v>
                </c:pt>
                <c:pt idx="1">
                  <c:v>0.10524428491497689</c:v>
                </c:pt>
                <c:pt idx="2">
                  <c:v>8.1756075363954281E-2</c:v>
                </c:pt>
                <c:pt idx="3">
                  <c:v>7.3221389035908385E-2</c:v>
                </c:pt>
                <c:pt idx="4">
                  <c:v>4.6895753233203087E-2</c:v>
                </c:pt>
                <c:pt idx="5">
                  <c:v>4.5218094146846036E-2</c:v>
                </c:pt>
                <c:pt idx="6">
                  <c:v>3.893067674745989E-2</c:v>
                </c:pt>
                <c:pt idx="7">
                  <c:v>3.4120800943032499E-2</c:v>
                </c:pt>
                <c:pt idx="8">
                  <c:v>3.1990828051809667E-2</c:v>
                </c:pt>
                <c:pt idx="9">
                  <c:v>2.90037188435585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Serum FPS50 1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90</c:v>
                </c:pt>
                <c:pt idx="1">
                  <c:v>205</c:v>
                </c:pt>
                <c:pt idx="2">
                  <c:v>225</c:v>
                </c:pt>
                <c:pt idx="3">
                  <c:v>260</c:v>
                </c:pt>
                <c:pt idx="4">
                  <c:v>270</c:v>
                </c:pt>
              </c:numCache>
            </c:numRef>
          </c:xVal>
          <c:yVal>
            <c:numRef>
              <c:f>Sheet1!$B$2:$B$6</c:f>
              <c:numCache>
                <c:formatCode>General</c:formatCode>
                <c:ptCount val="5"/>
                <c:pt idx="0">
                  <c:v>0.38633729300103159</c:v>
                </c:pt>
                <c:pt idx="1">
                  <c:v>0.17920957930221726</c:v>
                </c:pt>
                <c:pt idx="2">
                  <c:v>0</c:v>
                </c:pt>
                <c:pt idx="3">
                  <c:v>-0.11412653129941058</c:v>
                </c:pt>
                <c:pt idx="4">
                  <c:v>-0.187797904861690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ilk Hydration Lip balm FPS30 1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0</c:v>
                </c:pt>
                <c:pt idx="1">
                  <c:v>130</c:v>
                </c:pt>
                <c:pt idx="2">
                  <c:v>140</c:v>
                </c:pt>
                <c:pt idx="3">
                  <c:v>160</c:v>
                </c:pt>
                <c:pt idx="4">
                  <c:v>170</c:v>
                </c:pt>
              </c:numCache>
            </c:numRef>
          </c:xVal>
          <c:yVal>
            <c:numRef>
              <c:f>Sheet1!$B$9:$B$13</c:f>
              <c:numCache>
                <c:formatCode>General</c:formatCode>
                <c:ptCount val="5"/>
                <c:pt idx="0">
                  <c:v>0.26807836635445398</c:v>
                </c:pt>
                <c:pt idx="1">
                  <c:v>0.12913152071260323</c:v>
                </c:pt>
                <c:pt idx="2">
                  <c:v>0</c:v>
                </c:pt>
                <c:pt idx="3">
                  <c:v>-0.22158182524934167</c:v>
                </c:pt>
                <c:pt idx="4">
                  <c:v>-0.2571982989684512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ilk Hydration Glow Mist FPS50+ 1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15</c:v>
                </c:pt>
                <c:pt idx="1">
                  <c:v>225</c:v>
                </c:pt>
                <c:pt idx="2">
                  <c:v>240</c:v>
                </c:pt>
                <c:pt idx="3">
                  <c:v>270</c:v>
                </c:pt>
                <c:pt idx="4">
                  <c:v>290</c:v>
                </c:pt>
              </c:numCache>
            </c:numRef>
          </c:xVal>
          <c:yVal>
            <c:numRef>
              <c:f>Sheet1!$B$16:$B$20</c:f>
              <c:numCache>
                <c:formatCode>General</c:formatCode>
                <c:ptCount val="5"/>
                <c:pt idx="0">
                  <c:v>0.16506733329481188</c:v>
                </c:pt>
                <c:pt idx="1">
                  <c:v>8.0866835930763908E-2</c:v>
                </c:pt>
                <c:pt idx="2">
                  <c:v>0</c:v>
                </c:pt>
                <c:pt idx="3">
                  <c:v>-0.10740799986831769</c:v>
                </c:pt>
                <c:pt idx="4">
                  <c:v>-0.1689188227749548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0"/>
          <c:min val="12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B$2:$B$18</c:f>
              <c:numCache>
                <c:formatCode>General</c:formatCode>
                <c:ptCount val="17"/>
                <c:pt idx="0">
                  <c:v>138.63372930010317</c:v>
                </c:pt>
                <c:pt idx="1">
                  <c:v>130.6149188253024</c:v>
                </c:pt>
                <c:pt idx="2">
                  <c:v>123.79328007832157</c:v>
                </c:pt>
                <c:pt idx="3">
                  <c:v>117.92095793022175</c:v>
                </c:pt>
                <c:pt idx="4">
                  <c:v>112.80764001822125</c:v>
                </c:pt>
                <c:pt idx="5">
                  <c:v>108.30690377388197</c:v>
                </c:pt>
                <c:pt idx="6">
                  <c:v>103.95099833424854</c:v>
                </c:pt>
                <c:pt idx="7">
                  <c:v>100</c:v>
                </c:pt>
                <c:pt idx="8">
                  <c:v>96.392679261843497</c:v>
                </c:pt>
                <c:pt idx="9">
                  <c:v>93.079605771054304</c:v>
                </c:pt>
                <c:pt idx="10">
                  <c:v>92.153279996828658</c:v>
                </c:pt>
                <c:pt idx="11">
                  <c:v>91.241206504369288</c:v>
                </c:pt>
                <c:pt idx="12">
                  <c:v>90.343065498914783</c:v>
                </c:pt>
                <c:pt idx="13">
                  <c:v>89.458546262720546</c:v>
                </c:pt>
                <c:pt idx="14">
                  <c:v>88.587346870059008</c:v>
                </c:pt>
                <c:pt idx="15">
                  <c:v>84.613276736803641</c:v>
                </c:pt>
                <c:pt idx="16">
                  <c:v>81.22020951383088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C$2:$C$18</c:f>
              <c:numCache>
                <c:formatCode>General</c:formatCode>
                <c:ptCount val="17"/>
                <c:pt idx="0">
                  <c:v>117.13066492073804</c:v>
                </c:pt>
                <c:pt idx="1">
                  <c:v>113.25030938206928</c:v>
                </c:pt>
                <c:pt idx="2">
                  <c:v>110.07919882479811</c:v>
                </c:pt>
                <c:pt idx="3">
                  <c:v>107.47097223435674</c:v>
                </c:pt>
                <c:pt idx="4">
                  <c:v>105.31104301772875</c:v>
                </c:pt>
                <c:pt idx="5">
                  <c:v>103.50991583261737</c:v>
                </c:pt>
                <c:pt idx="6">
                  <c:v>101.64888686057643</c:v>
                </c:pt>
                <c:pt idx="7">
                  <c:v>100</c:v>
                </c:pt>
                <c:pt idx="8">
                  <c:v>98.527531211517854</c:v>
                </c:pt>
                <c:pt idx="9">
                  <c:v>97.202664898433156</c:v>
                </c:pt>
                <c:pt idx="10">
                  <c:v>98.277293649159375</c:v>
                </c:pt>
                <c:pt idx="11">
                  <c:v>99.326262698281141</c:v>
                </c:pt>
                <c:pt idx="12">
                  <c:v>100.35017193578798</c:v>
                </c:pt>
                <c:pt idx="13">
                  <c:v>101.34960280157451</c:v>
                </c:pt>
                <c:pt idx="14">
                  <c:v>102.32511898226824</c:v>
                </c:pt>
                <c:pt idx="15">
                  <c:v>99.611472069762712</c:v>
                </c:pt>
                <c:pt idx="16">
                  <c:v>97.4181351563180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D$2:$D$18</c:f>
              <c:numCache>
                <c:formatCode>General</c:formatCode>
                <c:ptCount val="17"/>
                <c:pt idx="0">
                  <c:v>100.06556698228088</c:v>
                </c:pt>
                <c:pt idx="1">
                  <c:v>99.468649448645678</c:v>
                </c:pt>
                <c:pt idx="2">
                  <c:v>99.193621765831224</c:v>
                </c:pt>
                <c:pt idx="3">
                  <c:v>99.174768986009482</c:v>
                </c:pt>
                <c:pt idx="4">
                  <c:v>99.357655991313081</c:v>
                </c:pt>
                <c:pt idx="5">
                  <c:v>99.697994391932909</c:v>
                </c:pt>
                <c:pt idx="6">
                  <c:v>99.819660932659431</c:v>
                </c:pt>
                <c:pt idx="7">
                  <c:v>100</c:v>
                </c:pt>
                <c:pt idx="8">
                  <c:v>100.22362545240664</c:v>
                </c:pt>
                <c:pt idx="9">
                  <c:v>100.4781543720141</c:v>
                </c:pt>
                <c:pt idx="10">
                  <c:v>103.14065765834452</c:v>
                </c:pt>
                <c:pt idx="11">
                  <c:v>105.74604878728991</c:v>
                </c:pt>
                <c:pt idx="12">
                  <c:v>108.29564370647307</c:v>
                </c:pt>
                <c:pt idx="13">
                  <c:v>110.79071876645629</c:v>
                </c:pt>
                <c:pt idx="14">
                  <c:v>113.23251216019949</c:v>
                </c:pt>
                <c:pt idx="15">
                  <c:v>111.51564423343868</c:v>
                </c:pt>
                <c:pt idx="16">
                  <c:v>110.271713129544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E$2:$E$18</c:f>
              <c:numCache>
                <c:formatCode>General</c:formatCode>
                <c:ptCount val="17"/>
                <c:pt idx="0">
                  <c:v>0.47793645463309964</c:v>
                </c:pt>
                <c:pt idx="1">
                  <c:v>0.49132269938609702</c:v>
                </c:pt>
                <c:pt idx="2">
                  <c:v>0.50403963190144463</c:v>
                </c:pt>
                <c:pt idx="3">
                  <c:v>0.51613622624531186</c:v>
                </c:pt>
                <c:pt idx="4">
                  <c:v>0.52765679228709017</c:v>
                </c:pt>
                <c:pt idx="5">
                  <c:v>0.53864151804785554</c:v>
                </c:pt>
                <c:pt idx="6">
                  <c:v>0.54912693809222246</c:v>
                </c:pt>
                <c:pt idx="7">
                  <c:v>0.55914633946795089</c:v>
                </c:pt>
                <c:pt idx="8">
                  <c:v>0.5687301146969086</c:v>
                </c:pt>
                <c:pt idx="9">
                  <c:v>0.57790606970335734</c:v>
                </c:pt>
                <c:pt idx="10">
                  <c:v>0.58669969325120386</c:v>
                </c:pt>
                <c:pt idx="11">
                  <c:v>0.59513439338893448</c:v>
                </c:pt>
                <c:pt idx="12">
                  <c:v>0.6032317055211559</c:v>
                </c:pt>
                <c:pt idx="13">
                  <c:v>0.61101147600113292</c:v>
                </c:pt>
                <c:pt idx="14">
                  <c:v>0.61849202453957286</c:v>
                </c:pt>
                <c:pt idx="15">
                  <c:v>0.62569028822750539</c:v>
                </c:pt>
                <c:pt idx="16">
                  <c:v>0.63262194955662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Hawaiian Tropic Ozono Lotion FPS50+ 240ml (4.4%)</c:v>
                </c:pt>
                <c:pt idx="4">
                  <c:v>Equate Sport Lotion FPS30 237ml (2.0%)</c:v>
                </c:pt>
                <c:pt idx="5">
                  <c:v>Nivea Sun Protect &amp; Refresh Sport Lotion FPS50 200ml (5.8%)</c:v>
                </c:pt>
                <c:pt idx="6">
                  <c:v>Hawaiian Tropic Sheer Touch Lotion FPS50 120ml (1.4%)</c:v>
                </c:pt>
                <c:pt idx="7">
                  <c:v>Nivea Sun Protection Sensitive Skin Gel FPS50+ 200ml (5.1%)</c:v>
                </c:pt>
                <c:pt idx="8">
                  <c:v>Hawaiian Tropic Sheer Touch Lotion FPS50+ 240ml (4.4%)</c:v>
                </c:pt>
                <c:pt idx="9">
                  <c:v>Equate Kids Lotion FPS50 237ml (1.4%)</c:v>
                </c:pt>
              </c:strCache>
            </c:strRef>
          </c:cat>
          <c:val>
            <c:numRef>
              <c:f>Sheet1!$B$2:$B$11</c:f>
              <c:numCache>
                <c:formatCode>General</c:formatCode>
                <c:ptCount val="10"/>
                <c:pt idx="0">
                  <c:v>7.0472059249526722E-2</c:v>
                </c:pt>
                <c:pt idx="1">
                  <c:v>5.1212700092170403E-2</c:v>
                </c:pt>
                <c:pt idx="2">
                  <c:v>4.7588426678773235E-2</c:v>
                </c:pt>
                <c:pt idx="3">
                  <c:v>3.9906790578383783E-2</c:v>
                </c:pt>
                <c:pt idx="4">
                  <c:v>3.7899155565645368E-2</c:v>
                </c:pt>
                <c:pt idx="5">
                  <c:v>3.4677919200486344E-2</c:v>
                </c:pt>
                <c:pt idx="6">
                  <c:v>3.1871251323390394E-2</c:v>
                </c:pt>
                <c:pt idx="7">
                  <c:v>2.944826925918876E-2</c:v>
                </c:pt>
                <c:pt idx="8">
                  <c:v>2.7032373648178492E-2</c:v>
                </c:pt>
                <c:pt idx="9">
                  <c:v>2.701304440777250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Hawaiian Tropic Ozono Lotion FPS50+ 240ml (4.4%)</c:v>
                </c:pt>
                <c:pt idx="5">
                  <c:v>Equate Sport Lotion FPS30 237ml (2.0%)</c:v>
                </c:pt>
                <c:pt idx="6">
                  <c:v>Nivea Sun Protection Sensitive Skin Gel FPS50+ 200ml (5.1%)</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6.108853733989298E-2</c:v>
                </c:pt>
                <c:pt idx="1">
                  <c:v>5.3756058794814508E-2</c:v>
                </c:pt>
                <c:pt idx="2">
                  <c:v>4.4108810959853147E-2</c:v>
                </c:pt>
                <c:pt idx="3">
                  <c:v>4.3194774457873224E-2</c:v>
                </c:pt>
                <c:pt idx="4">
                  <c:v>3.7148538843962055E-2</c:v>
                </c:pt>
                <c:pt idx="5">
                  <c:v>3.2617024230081094E-2</c:v>
                </c:pt>
                <c:pt idx="6">
                  <c:v>2.737752793740782E-2</c:v>
                </c:pt>
                <c:pt idx="7">
                  <c:v>2.6962168066614459E-2</c:v>
                </c:pt>
                <c:pt idx="8">
                  <c:v>2.3170290996644249E-2</c:v>
                </c:pt>
                <c:pt idx="9">
                  <c:v>2.27618273970848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B$2:$B$12</c:f>
              <c:numCache>
                <c:formatCode>General</c:formatCode>
                <c:ptCount val="11"/>
                <c:pt idx="0">
                  <c:v>126.8078366354453</c:v>
                </c:pt>
                <c:pt idx="1">
                  <c:v>119.53338020799815</c:v>
                </c:pt>
                <c:pt idx="2">
                  <c:v>112.91315207126034</c:v>
                </c:pt>
                <c:pt idx="3">
                  <c:v>106.86872156049212</c:v>
                </c:pt>
                <c:pt idx="4">
                  <c:v>100</c:v>
                </c:pt>
                <c:pt idx="5">
                  <c:v>93.717901157856048</c:v>
                </c:pt>
                <c:pt idx="6">
                  <c:v>87.964659244899337</c:v>
                </c:pt>
                <c:pt idx="7">
                  <c:v>82.688218582258898</c:v>
                </c:pt>
                <c:pt idx="8">
                  <c:v>77.841817475065753</c:v>
                </c:pt>
                <c:pt idx="9">
                  <c:v>76.02683686967265</c:v>
                </c:pt>
                <c:pt idx="10">
                  <c:v>74.2801701031548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C$2:$C$12</c:f>
              <c:numCache>
                <c:formatCode>General</c:formatCode>
                <c:ptCount val="11"/>
                <c:pt idx="0">
                  <c:v>108.65265831087389</c:v>
                </c:pt>
                <c:pt idx="1">
                  <c:v>106.69231655953988</c:v>
                </c:pt>
                <c:pt idx="2">
                  <c:v>104.82059744139363</c:v>
                </c:pt>
                <c:pt idx="3">
                  <c:v>103.03175915293465</c:v>
                </c:pt>
                <c:pt idx="4">
                  <c:v>100</c:v>
                </c:pt>
                <c:pt idx="5">
                  <c:v>97.084966092545471</c:v>
                </c:pt>
                <c:pt idx="6">
                  <c:v>94.287301831285006</c:v>
                </c:pt>
                <c:pt idx="7">
                  <c:v>91.605820359775421</c:v>
                </c:pt>
                <c:pt idx="8">
                  <c:v>89.038024048780542</c:v>
                </c:pt>
                <c:pt idx="9">
                  <c:v>89.664266658654228</c:v>
                </c:pt>
                <c:pt idx="10">
                  <c:v>90.2444870402267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D$2:$D$12</c:f>
              <c:numCache>
                <c:formatCode>General</c:formatCode>
                <c:ptCount val="11"/>
                <c:pt idx="0">
                  <c:v>87.831526851250032</c:v>
                </c:pt>
                <c:pt idx="1">
                  <c:v>91.978083665485499</c:v>
                </c:pt>
                <c:pt idx="2">
                  <c:v>95.560368084843645</c:v>
                </c:pt>
                <c:pt idx="3">
                  <c:v>98.656791390597746</c:v>
                </c:pt>
                <c:pt idx="4">
                  <c:v>100</c:v>
                </c:pt>
                <c:pt idx="5">
                  <c:v>100.91930535489027</c:v>
                </c:pt>
                <c:pt idx="6">
                  <c:v>101.48329460592585</c:v>
                </c:pt>
                <c:pt idx="7">
                  <c:v>101.74982614026061</c:v>
                </c:pt>
                <c:pt idx="8">
                  <c:v>101.76767941367177</c:v>
                </c:pt>
                <c:pt idx="9">
                  <c:v>105.23683705940638</c:v>
                </c:pt>
                <c:pt idx="10">
                  <c:v>108.526873590651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E$2:$E$12</c:f>
              <c:numCache>
                <c:formatCode>General</c:formatCode>
                <c:ptCount val="11"/>
                <c:pt idx="0">
                  <c:v>0.37557654610179375</c:v>
                </c:pt>
                <c:pt idx="1">
                  <c:v>0.40055348425772197</c:v>
                </c:pt>
                <c:pt idx="2">
                  <c:v>0.42360911947857888</c:v>
                </c:pt>
                <c:pt idx="3">
                  <c:v>0.44495692986826108</c:v>
                </c:pt>
                <c:pt idx="4">
                  <c:v>0.46477989665868025</c:v>
                </c:pt>
                <c:pt idx="5">
                  <c:v>0.48323576229113979</c:v>
                </c:pt>
                <c:pt idx="6">
                  <c:v>0.50046123688143496</c:v>
                </c:pt>
                <c:pt idx="7">
                  <c:v>0.5165753905304209</c:v>
                </c:pt>
                <c:pt idx="8">
                  <c:v>0.53168240957634527</c:v>
                </c:pt>
                <c:pt idx="9">
                  <c:v>0.54587385171039549</c:v>
                </c:pt>
                <c:pt idx="10">
                  <c:v>0.559230503130678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Nivea Sun Protect &amp; Refresh Sport Lotion FPS50 200ml (5.8%)</c:v>
                </c:pt>
                <c:pt idx="4">
                  <c:v>Hawaiian Tropic Island Sport Lotion FPS50 240ml (3.6%)</c:v>
                </c:pt>
                <c:pt idx="5">
                  <c:v>Nivea Sun Protection Sensitive Skin Gel FPS50+ 200ml (5.1%)</c:v>
                </c:pt>
                <c:pt idx="6">
                  <c:v>Nivea Sun Protection &amp; Hydration Lotion FPS50+ 125ml (4.5%)</c:v>
                </c:pt>
                <c:pt idx="7">
                  <c:v>Neutrogena Sun Fresh Cream FPS50 200ml (1.5%)</c:v>
                </c:pt>
                <c:pt idx="8">
                  <c:v>Nivea Sun Face Shine Control FPS50+ 50ml (1.5%)</c:v>
                </c:pt>
                <c:pt idx="9">
                  <c:v>Nivea Sun Babies &amp; Kids Lotion FPS50+ 200ml (2.3%)</c:v>
                </c:pt>
              </c:strCache>
            </c:strRef>
          </c:cat>
          <c:val>
            <c:numRef>
              <c:f>Sheet1!$B$2:$B$11</c:f>
              <c:numCache>
                <c:formatCode>General</c:formatCode>
                <c:ptCount val="10"/>
                <c:pt idx="0">
                  <c:v>5.2764363981338075E-2</c:v>
                </c:pt>
                <c:pt idx="1">
                  <c:v>4.9731856387910521E-2</c:v>
                </c:pt>
                <c:pt idx="2">
                  <c:v>4.4384419559514603E-2</c:v>
                </c:pt>
                <c:pt idx="3">
                  <c:v>4.3933609726568471E-2</c:v>
                </c:pt>
                <c:pt idx="4">
                  <c:v>3.6193514916421567E-2</c:v>
                </c:pt>
                <c:pt idx="5">
                  <c:v>3.3643206292304072E-2</c:v>
                </c:pt>
                <c:pt idx="6">
                  <c:v>3.1211872174252794E-2</c:v>
                </c:pt>
                <c:pt idx="7">
                  <c:v>2.508882296671457E-2</c:v>
                </c:pt>
                <c:pt idx="8">
                  <c:v>2.2507596354897113E-2</c:v>
                </c:pt>
                <c:pt idx="9">
                  <c:v>2.201608831899388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Nivea Sun Protection &amp; Hydration Lotion FPS50+ 125ml (4.5%)</c:v>
                </c:pt>
                <c:pt idx="5">
                  <c:v>Nivea Sun Protection Sensitive Skin Gel FPS50+ 200ml (5.1%)</c:v>
                </c:pt>
                <c:pt idx="6">
                  <c:v>Hawaiian Tropic Island Sport Lotion FPS50 240ml (3.6%)</c:v>
                </c:pt>
                <c:pt idx="7">
                  <c:v>Neutrogena Sun Fresh Cream FPS50 200ml (1.5%)</c:v>
                </c:pt>
                <c:pt idx="8">
                  <c:v>L'Oréal Paris UV DEFENDER Colored Fluid FPS50+ 40g (0.9%)</c:v>
                </c:pt>
                <c:pt idx="9">
                  <c:v>Nivea Sun Face Shine Control FPS50+ 50ml (1.5%)</c:v>
                </c:pt>
              </c:strCache>
            </c:strRef>
          </c:cat>
          <c:val>
            <c:numRef>
              <c:f>Sheet1!$B$2:$B$11</c:f>
              <c:numCache>
                <c:formatCode>General</c:formatCode>
                <c:ptCount val="10"/>
                <c:pt idx="0">
                  <c:v>4.4298274899283244E-2</c:v>
                </c:pt>
                <c:pt idx="1">
                  <c:v>4.3684856398885884E-2</c:v>
                </c:pt>
                <c:pt idx="2">
                  <c:v>4.2235871281141112E-2</c:v>
                </c:pt>
                <c:pt idx="3">
                  <c:v>3.3013805187850041E-2</c:v>
                </c:pt>
                <c:pt idx="4">
                  <c:v>3.0152443709170279E-2</c:v>
                </c:pt>
                <c:pt idx="5">
                  <c:v>2.8492416065854894E-2</c:v>
                </c:pt>
                <c:pt idx="6">
                  <c:v>2.8409628608619383E-2</c:v>
                </c:pt>
                <c:pt idx="7">
                  <c:v>2.6950863147058236E-2</c:v>
                </c:pt>
                <c:pt idx="8">
                  <c:v>2.3049543021255371E-2</c:v>
                </c:pt>
                <c:pt idx="9">
                  <c:v>2.29676570437666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Isdin (1.8%)</c:v>
                </c:pt>
                <c:pt idx="7">
                  <c:v>La Roche-Posay (1.9%)</c:v>
                </c:pt>
                <c:pt idx="8">
                  <c:v>Garnier (1.7%)</c:v>
                </c:pt>
                <c:pt idx="9">
                  <c:v>Eucerin (1.1%)</c:v>
                </c:pt>
              </c:strCache>
            </c:strRef>
          </c:cat>
          <c:val>
            <c:numRef>
              <c:f>Sheet1!$B$2:$B$11</c:f>
              <c:numCache>
                <c:formatCode>General</c:formatCode>
                <c:ptCount val="10"/>
                <c:pt idx="0">
                  <c:v>0.41321972355142078</c:v>
                </c:pt>
                <c:pt idx="1">
                  <c:v>0.31800728206539319</c:v>
                </c:pt>
                <c:pt idx="2">
                  <c:v>9.0028858900184555E-2</c:v>
                </c:pt>
                <c:pt idx="3">
                  <c:v>8.9244765056355188E-2</c:v>
                </c:pt>
                <c:pt idx="4">
                  <c:v>2.3815006873403259E-2</c:v>
                </c:pt>
                <c:pt idx="5">
                  <c:v>1.9273141062789715E-2</c:v>
                </c:pt>
                <c:pt idx="6">
                  <c:v>1.2094055220694773E-2</c:v>
                </c:pt>
                <c:pt idx="7">
                  <c:v>1.0430343104540026E-2</c:v>
                </c:pt>
                <c:pt idx="8">
                  <c:v>8.159248034810199E-3</c:v>
                </c:pt>
                <c:pt idx="9">
                  <c:v>5.124394903488501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50673332948121</c:v>
                </c:pt>
                <c:pt idx="1">
                  <c:v>112.10416410620942</c:v>
                </c:pt>
                <c:pt idx="2">
                  <c:v>108.08668359307643</c:v>
                </c:pt>
                <c:pt idx="3">
                  <c:v>104.39885560013782</c:v>
                </c:pt>
                <c:pt idx="4">
                  <c:v>100.99565709875822</c:v>
                </c:pt>
                <c:pt idx="5">
                  <c:v>100</c:v>
                </c:pt>
                <c:pt idx="6">
                  <c:v>99.019739976797396</c:v>
                </c:pt>
                <c:pt idx="7">
                  <c:v>98.05453047478143</c:v>
                </c:pt>
                <c:pt idx="8">
                  <c:v>97.104034592372201</c:v>
                </c:pt>
                <c:pt idx="9">
                  <c:v>96.167924790299423</c:v>
                </c:pt>
                <c:pt idx="10">
                  <c:v>92.451512584710258</c:v>
                </c:pt>
                <c:pt idx="11">
                  <c:v>89.259200013168225</c:v>
                </c:pt>
                <c:pt idx="12">
                  <c:v>86.466878583758188</c:v>
                </c:pt>
                <c:pt idx="13">
                  <c:v>85.314944825727295</c:v>
                </c:pt>
                <c:pt idx="14">
                  <c:v>84.195946857186968</c:v>
                </c:pt>
                <c:pt idx="15">
                  <c:v>83.1081177225045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4.40178471806796</c:v>
                </c:pt>
                <c:pt idx="1">
                  <c:v>102.78571120686833</c:v>
                </c:pt>
                <c:pt idx="2">
                  <c:v>101.3478906735433</c:v>
                </c:pt>
                <c:pt idx="3">
                  <c:v>100.05916727973259</c:v>
                </c:pt>
                <c:pt idx="4">
                  <c:v>98.895981533724481</c:v>
                </c:pt>
                <c:pt idx="5">
                  <c:v>100</c:v>
                </c:pt>
                <c:pt idx="6">
                  <c:v>101.07823658358923</c:v>
                </c:pt>
                <c:pt idx="7">
                  <c:v>102.13129670944205</c:v>
                </c:pt>
                <c:pt idx="8">
                  <c:v>103.15976693240225</c:v>
                </c:pt>
                <c:pt idx="9">
                  <c:v>104.16421564198524</c:v>
                </c:pt>
                <c:pt idx="10">
                  <c:v>102.06172030271161</c:v>
                </c:pt>
                <c:pt idx="11">
                  <c:v>100.39392249894563</c:v>
                </c:pt>
                <c:pt idx="12">
                  <c:v>99.051416553328579</c:v>
                </c:pt>
                <c:pt idx="13">
                  <c:v>99.505343014170435</c:v>
                </c:pt>
                <c:pt idx="14">
                  <c:v>99.950432312987274</c:v>
                </c:pt>
                <c:pt idx="15">
                  <c:v>100.386607196301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85.709647239606355</c:v>
                </c:pt>
                <c:pt idx="1">
                  <c:v>88.39750616911823</c:v>
                </c:pt>
                <c:pt idx="2">
                  <c:v>90.943872334067152</c:v>
                </c:pt>
                <c:pt idx="3">
                  <c:v>93.360247094964805</c:v>
                </c:pt>
                <c:pt idx="4">
                  <c:v>95.656271369732934</c:v>
                </c:pt>
                <c:pt idx="5">
                  <c:v>100</c:v>
                </c:pt>
                <c:pt idx="6">
                  <c:v>104.25466394988385</c:v>
                </c:pt>
                <c:pt idx="7">
                  <c:v>108.42232203578632</c:v>
                </c:pt>
                <c:pt idx="8">
                  <c:v>112.50497097203147</c:v>
                </c:pt>
                <c:pt idx="9">
                  <c:v>116.50454757055218</c:v>
                </c:pt>
                <c:pt idx="10">
                  <c:v>116.88990434837321</c:v>
                </c:pt>
                <c:pt idx="11">
                  <c:v>117.57265303235056</c:v>
                </c:pt>
                <c:pt idx="12">
                  <c:v>118.4658794877693</c:v>
                </c:pt>
                <c:pt idx="13">
                  <c:v>121.39803290779238</c:v>
                </c:pt>
                <c:pt idx="14">
                  <c:v>124.2569935402434</c:v>
                </c:pt>
                <c:pt idx="15">
                  <c:v>127.045283981027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32360977340624586</c:v>
                </c:pt>
                <c:pt idx="1">
                  <c:v>0.33898227855610397</c:v>
                </c:pt>
                <c:pt idx="2">
                  <c:v>0.35367156125485733</c:v>
                </c:pt>
                <c:pt idx="3">
                  <c:v>0.36772217948844732</c:v>
                </c:pt>
                <c:pt idx="4">
                  <c:v>0.38117489907379959</c:v>
                </c:pt>
                <c:pt idx="5">
                  <c:v>0.3940670886764287</c:v>
                </c:pt>
                <c:pt idx="6">
                  <c:v>0.40643306645854244</c:v>
                </c:pt>
                <c:pt idx="7">
                  <c:v>0.41830440512937161</c:v>
                </c:pt>
                <c:pt idx="8">
                  <c:v>0.42971020110722691</c:v>
                </c:pt>
                <c:pt idx="9">
                  <c:v>0.44067731262439569</c:v>
                </c:pt>
                <c:pt idx="10">
                  <c:v>0.45123057087676571</c:v>
                </c:pt>
                <c:pt idx="11">
                  <c:v>0.46139296771238109</c:v>
                </c:pt>
                <c:pt idx="12">
                  <c:v>0.47118582284488325</c:v>
                </c:pt>
                <c:pt idx="13">
                  <c:v>0.48062893315122462</c:v>
                </c:pt>
                <c:pt idx="14">
                  <c:v>0.4897407062538347</c:v>
                </c:pt>
                <c:pt idx="15">
                  <c:v>0.49853828028394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Protect &amp; Refresh Sport Lotion FPS50 200ml (5.8%)</c:v>
                </c:pt>
                <c:pt idx="5">
                  <c:v>Caribbean Beach Advanced Protection Cream FPS50+ 150g (1.0%)</c:v>
                </c:pt>
                <c:pt idx="6">
                  <c:v>Hawaiian Tropic Ozono Lotion FPS50+ 240ml (4.4%)</c:v>
                </c:pt>
                <c:pt idx="7">
                  <c:v>Equate Kids Lotion FPS50 237ml (1.4%)</c:v>
                </c:pt>
                <c:pt idx="8">
                  <c:v>Caribbean Beach Sport Cream FPS50+ 150g (1.0%)</c:v>
                </c:pt>
                <c:pt idx="9">
                  <c:v>Hawaiian Tropic Sheer Touch Lotion FPS50 120ml (1.4%)</c:v>
                </c:pt>
              </c:strCache>
            </c:strRef>
          </c:cat>
          <c:val>
            <c:numRef>
              <c:f>Sheet1!$B$2:$B$11</c:f>
              <c:numCache>
                <c:formatCode>General</c:formatCode>
                <c:ptCount val="10"/>
                <c:pt idx="0">
                  <c:v>5.9062020073172683E-2</c:v>
                </c:pt>
                <c:pt idx="1">
                  <c:v>4.8277308074521595E-2</c:v>
                </c:pt>
                <c:pt idx="2">
                  <c:v>3.9258660645578591E-2</c:v>
                </c:pt>
                <c:pt idx="3">
                  <c:v>3.8678190649149111E-2</c:v>
                </c:pt>
                <c:pt idx="4">
                  <c:v>3.4170669834212665E-2</c:v>
                </c:pt>
                <c:pt idx="5">
                  <c:v>3.3354372258553824E-2</c:v>
                </c:pt>
                <c:pt idx="6">
                  <c:v>3.1097474581553052E-2</c:v>
                </c:pt>
                <c:pt idx="7">
                  <c:v>2.6675311107309658E-2</c:v>
                </c:pt>
                <c:pt idx="8">
                  <c:v>2.2859280685047105E-2</c:v>
                </c:pt>
                <c:pt idx="9">
                  <c:v>2.283852739741105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Hawaiian Tropic Ozono Lotion FPS50+ 240ml (4.4%)</c:v>
                </c:pt>
                <c:pt idx="4">
                  <c:v>Equate Sport Lotion FPS30 237ml (2.0%)</c:v>
                </c:pt>
                <c:pt idx="5">
                  <c:v>Caribbean Beach Advanced Protection Cream FPS50+ 150g (1.0%)</c:v>
                </c:pt>
                <c:pt idx="6">
                  <c:v>Nivea Sun Protect &amp; Refresh Sport Lotion FPS50 200ml (5.8%)</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5.3281690915798006E-2</c:v>
                </c:pt>
                <c:pt idx="1">
                  <c:v>4.7600570848031563E-2</c:v>
                </c:pt>
                <c:pt idx="2">
                  <c:v>4.5634874274071466E-2</c:v>
                </c:pt>
                <c:pt idx="3">
                  <c:v>4.4659060395581623E-2</c:v>
                </c:pt>
                <c:pt idx="4">
                  <c:v>4.0979267293356915E-2</c:v>
                </c:pt>
                <c:pt idx="5">
                  <c:v>3.4317081508409571E-2</c:v>
                </c:pt>
                <c:pt idx="6">
                  <c:v>3.341988816754294E-2</c:v>
                </c:pt>
                <c:pt idx="7">
                  <c:v>3.102634423658843E-2</c:v>
                </c:pt>
                <c:pt idx="8">
                  <c:v>3.0328134187354593E-2</c:v>
                </c:pt>
                <c:pt idx="9">
                  <c:v>2.654735002851376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Argan Spray FPS15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90</c:v>
                </c:pt>
                <c:pt idx="2">
                  <c:v>315</c:v>
                </c:pt>
                <c:pt idx="3">
                  <c:v>350</c:v>
                </c:pt>
                <c:pt idx="4">
                  <c:v>375</c:v>
                </c:pt>
              </c:numCache>
            </c:numRef>
          </c:xVal>
          <c:yVal>
            <c:numRef>
              <c:f>Sheet1!$B$2:$B$6</c:f>
              <c:numCache>
                <c:formatCode>General</c:formatCode>
                <c:ptCount val="5"/>
                <c:pt idx="0">
                  <c:v>0.36196746136715796</c:v>
                </c:pt>
                <c:pt idx="1">
                  <c:v>0.24388730940962172</c:v>
                </c:pt>
                <c:pt idx="2">
                  <c:v>0</c:v>
                </c:pt>
                <c:pt idx="3">
                  <c:v>-0.1313927841644317</c:v>
                </c:pt>
                <c:pt idx="4">
                  <c:v>-0.1884817761008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
          <c:min val="27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6.19674613671583</c:v>
                </c:pt>
                <c:pt idx="1">
                  <c:v>130.87501308163908</c:v>
                </c:pt>
                <c:pt idx="2">
                  <c:v>128.63376339468161</c:v>
                </c:pt>
                <c:pt idx="3">
                  <c:v>126.47331266670352</c:v>
                </c:pt>
                <c:pt idx="4">
                  <c:v>124.38873094096215</c:v>
                </c:pt>
                <c:pt idx="5">
                  <c:v>115.02725433445184</c:v>
                </c:pt>
                <c:pt idx="6">
                  <c:v>107.53554318554828</c:v>
                </c:pt>
                <c:pt idx="7">
                  <c:v>104.69967810098177</c:v>
                </c:pt>
                <c:pt idx="8">
                  <c:v>102.21489451915269</c:v>
                </c:pt>
                <c:pt idx="9">
                  <c:v>100</c:v>
                </c:pt>
                <c:pt idx="10">
                  <c:v>97.396506909866545</c:v>
                </c:pt>
                <c:pt idx="11">
                  <c:v>95.059784688448815</c:v>
                </c:pt>
                <c:pt idx="12">
                  <c:v>92.942768891881371</c:v>
                </c:pt>
                <c:pt idx="13">
                  <c:v>91.008702020866011</c:v>
                </c:pt>
                <c:pt idx="14">
                  <c:v>89.570960984506129</c:v>
                </c:pt>
                <c:pt idx="15">
                  <c:v>88.189711710222426</c:v>
                </c:pt>
                <c:pt idx="16">
                  <c:v>86.860721583556838</c:v>
                </c:pt>
                <c:pt idx="17">
                  <c:v>85.597721358946828</c:v>
                </c:pt>
                <c:pt idx="18">
                  <c:v>84.40265397406381</c:v>
                </c:pt>
                <c:pt idx="19">
                  <c:v>83.267571062267379</c:v>
                </c:pt>
                <c:pt idx="20">
                  <c:v>82.185823380886504</c:v>
                </c:pt>
                <c:pt idx="21">
                  <c:v>81.1518223899112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81660909121301</c:v>
                </c:pt>
                <c:pt idx="1">
                  <c:v>114.32149793462587</c:v>
                </c:pt>
                <c:pt idx="2">
                  <c:v>114.39959188244255</c:v>
                </c:pt>
                <c:pt idx="3">
                  <c:v>114.47984090979514</c:v>
                </c:pt>
                <c:pt idx="4">
                  <c:v>114.56154329922312</c:v>
                </c:pt>
                <c:pt idx="5">
                  <c:v>107.75368520005388</c:v>
                </c:pt>
                <c:pt idx="6">
                  <c:v>102.43280572766031</c:v>
                </c:pt>
                <c:pt idx="7">
                  <c:v>101.38736100621976</c:v>
                </c:pt>
                <c:pt idx="8">
                  <c:v>100.59796076012302</c:v>
                </c:pt>
                <c:pt idx="9">
                  <c:v>100</c:v>
                </c:pt>
                <c:pt idx="10">
                  <c:v>98.938198591523161</c:v>
                </c:pt>
                <c:pt idx="11">
                  <c:v>98.069232128215972</c:v>
                </c:pt>
                <c:pt idx="12">
                  <c:v>97.356456298428924</c:v>
                </c:pt>
                <c:pt idx="13">
                  <c:v>96.771209879297686</c:v>
                </c:pt>
                <c:pt idx="14">
                  <c:v>96.660076908441582</c:v>
                </c:pt>
                <c:pt idx="15">
                  <c:v>96.56528875049645</c:v>
                </c:pt>
                <c:pt idx="16">
                  <c:v>96.484824955017189</c:v>
                </c:pt>
                <c:pt idx="17">
                  <c:v>96.437150406656187</c:v>
                </c:pt>
                <c:pt idx="18">
                  <c:v>96.427080306321685</c:v>
                </c:pt>
                <c:pt idx="19">
                  <c:v>96.448634041434843</c:v>
                </c:pt>
                <c:pt idx="20">
                  <c:v>96.496853290506891</c:v>
                </c:pt>
                <c:pt idx="21">
                  <c:v>96.567621064851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06.34880412672894</c:v>
                </c:pt>
                <c:pt idx="1">
                  <c:v>105.38019743639724</c:v>
                </c:pt>
                <c:pt idx="2">
                  <c:v>106.70782615505416</c:v>
                </c:pt>
                <c:pt idx="3">
                  <c:v>107.99529852238439</c:v>
                </c:pt>
                <c:pt idx="4">
                  <c:v>109.24418726044303</c:v>
                </c:pt>
                <c:pt idx="5">
                  <c:v>103.82344019765462</c:v>
                </c:pt>
                <c:pt idx="6">
                  <c:v>99.679959876696017</c:v>
                </c:pt>
                <c:pt idx="7">
                  <c:v>99.600731158306729</c:v>
                </c:pt>
                <c:pt idx="8">
                  <c:v>99.725926389749276</c:v>
                </c:pt>
                <c:pt idx="9">
                  <c:v>100</c:v>
                </c:pt>
                <c:pt idx="10">
                  <c:v>99.768145629979486</c:v>
                </c:pt>
                <c:pt idx="11">
                  <c:v>99.689262135752983</c:v>
                </c:pt>
                <c:pt idx="12">
                  <c:v>99.73233485637158</c:v>
                </c:pt>
                <c:pt idx="13">
                  <c:v>99.87307584403176</c:v>
                </c:pt>
                <c:pt idx="14">
                  <c:v>100.47638079926217</c:v>
                </c:pt>
                <c:pt idx="15">
                  <c:v>101.07441209487462</c:v>
                </c:pt>
                <c:pt idx="16">
                  <c:v>101.66634243899513</c:v>
                </c:pt>
                <c:pt idx="17">
                  <c:v>102.27239496022338</c:v>
                </c:pt>
                <c:pt idx="18">
                  <c:v>102.89975902808615</c:v>
                </c:pt>
                <c:pt idx="19">
                  <c:v>103.54351338572036</c:v>
                </c:pt>
                <c:pt idx="20">
                  <c:v>104.19960969360653</c:v>
                </c:pt>
                <c:pt idx="21">
                  <c:v>104.864722611158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383660963484775</c:v>
                </c:pt>
                <c:pt idx="1">
                  <c:v>0.60122139855057766</c:v>
                </c:pt>
                <c:pt idx="2">
                  <c:v>0.60834244500503154</c:v>
                </c:pt>
                <c:pt idx="3">
                  <c:v>0.615213630180382</c:v>
                </c:pt>
                <c:pt idx="4">
                  <c:v>0.62184787793589247</c:v>
                </c:pt>
                <c:pt idx="5">
                  <c:v>0.62825723593697924</c:v>
                </c:pt>
                <c:pt idx="6">
                  <c:v>0.63445294867136282</c:v>
                </c:pt>
                <c:pt idx="7">
                  <c:v>0.64044552328330773</c:v>
                </c:pt>
                <c:pt idx="8">
                  <c:v>0.64624478903680294</c:v>
                </c:pt>
                <c:pt idx="9">
                  <c:v>0.65185995111558381</c:v>
                </c:pt>
                <c:pt idx="10">
                  <c:v>0.65729963937940283</c:v>
                </c:pt>
                <c:pt idx="11">
                  <c:v>0.66257195261971957</c:v>
                </c:pt>
                <c:pt idx="12">
                  <c:v>0.66768449879214808</c:v>
                </c:pt>
                <c:pt idx="13">
                  <c:v>0.67264443164599663</c:v>
                </c:pt>
                <c:pt idx="14">
                  <c:v>0.67745848412179088</c:v>
                </c:pt>
                <c:pt idx="15">
                  <c:v>0.68213299884466339</c:v>
                </c:pt>
                <c:pt idx="16">
                  <c:v>0.68667395600402537</c:v>
                </c:pt>
                <c:pt idx="17">
                  <c:v>0.69108699887720815</c:v>
                </c:pt>
                <c:pt idx="18">
                  <c:v>0.69537745722613575</c:v>
                </c:pt>
                <c:pt idx="19">
                  <c:v>0.6995503687709832</c:v>
                </c:pt>
                <c:pt idx="20">
                  <c:v>0.70361049892272665</c:v>
                </c:pt>
                <c:pt idx="21">
                  <c:v>0.70756235893709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amp; Hydration Lotion FPS50+ 125ml (4.5%)</c:v>
                </c:pt>
                <c:pt idx="5">
                  <c:v>Hawaiian Tropic Sheer Touch Lotion FPS30 240ml (1.7%)</c:v>
                </c:pt>
                <c:pt idx="6">
                  <c:v>Hawaiian Tropic Sheer Touch Lotion FPS50 120ml (1.4%)</c:v>
                </c:pt>
                <c:pt idx="7">
                  <c:v>Nivea Sun Protect &amp; Refresh Sport Lotion FPS50 200ml (5.8%)</c:v>
                </c:pt>
                <c:pt idx="8">
                  <c:v>Nivea Sun Protection Sensitive Skin Gel FPS50+ 200ml (5.1%)</c:v>
                </c:pt>
                <c:pt idx="9">
                  <c:v>Banana Boat Advanced Protection Lotion FPS50+ 240ml (2.8%)</c:v>
                </c:pt>
              </c:strCache>
            </c:strRef>
          </c:cat>
          <c:val>
            <c:numRef>
              <c:f>Sheet1!$B$2:$B$11</c:f>
              <c:numCache>
                <c:formatCode>General</c:formatCode>
                <c:ptCount val="10"/>
                <c:pt idx="0">
                  <c:v>7.3894621489417445E-2</c:v>
                </c:pt>
                <c:pt idx="1">
                  <c:v>7.1164539354463791E-2</c:v>
                </c:pt>
                <c:pt idx="2">
                  <c:v>6.6308165025153604E-2</c:v>
                </c:pt>
                <c:pt idx="3">
                  <c:v>5.2987866435689784E-2</c:v>
                </c:pt>
                <c:pt idx="4">
                  <c:v>4.7661351639088981E-2</c:v>
                </c:pt>
                <c:pt idx="5">
                  <c:v>4.1559366928670502E-2</c:v>
                </c:pt>
                <c:pt idx="6">
                  <c:v>3.7253138375241288E-2</c:v>
                </c:pt>
                <c:pt idx="7">
                  <c:v>3.6486956212887743E-2</c:v>
                </c:pt>
                <c:pt idx="8">
                  <c:v>3.637823815409167E-2</c:v>
                </c:pt>
                <c:pt idx="9">
                  <c:v>2.616017487054994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 &amp; Refresh Sport Lotion FPS50 200ml (5.8%)</c:v>
                </c:pt>
                <c:pt idx="6">
                  <c:v>Nivea Sun Protection &amp; Hydration Lotion FPS50+ 125ml (4.5%)</c:v>
                </c:pt>
                <c:pt idx="7">
                  <c:v>Nivea Sun Protection Sensitive Skin Gel FPS50+ 200ml (5.1%)</c:v>
                </c:pt>
                <c:pt idx="8">
                  <c:v>Banana Boat Aqua Protect Sport Lotion FPS50+ 236ml (3.1%)</c:v>
                </c:pt>
                <c:pt idx="9">
                  <c:v>Hawaiian Tropic Sheer Touch Lotion FPS50 120ml (1.4%)</c:v>
                </c:pt>
              </c:strCache>
            </c:strRef>
          </c:cat>
          <c:val>
            <c:numRef>
              <c:f>Sheet1!$B$2:$B$11</c:f>
              <c:numCache>
                <c:formatCode>General</c:formatCode>
                <c:ptCount val="10"/>
                <c:pt idx="0">
                  <c:v>7.767901948428238E-2</c:v>
                </c:pt>
                <c:pt idx="1">
                  <c:v>7.6068382009974983E-2</c:v>
                </c:pt>
                <c:pt idx="2">
                  <c:v>6.8918856099938336E-2</c:v>
                </c:pt>
                <c:pt idx="3">
                  <c:v>5.5246898608649411E-2</c:v>
                </c:pt>
                <c:pt idx="4">
                  <c:v>4.7728252230611196E-2</c:v>
                </c:pt>
                <c:pt idx="5">
                  <c:v>4.5209248667947267E-2</c:v>
                </c:pt>
                <c:pt idx="6">
                  <c:v>4.3311940821714461E-2</c:v>
                </c:pt>
                <c:pt idx="7">
                  <c:v>3.8568931390535362E-2</c:v>
                </c:pt>
                <c:pt idx="8">
                  <c:v>3.3803525290957953E-2</c:v>
                </c:pt>
                <c:pt idx="9">
                  <c:v>2.974706893065785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Mineral Brush FPS30 4.25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263692368461533</c:v>
                </c:pt>
                <c:pt idx="1">
                  <c:v>9.8929481516618997E-2</c:v>
                </c:pt>
                <c:pt idx="2">
                  <c:v>0</c:v>
                </c:pt>
                <c:pt idx="3">
                  <c:v>-7.9843541017668426E-2</c:v>
                </c:pt>
                <c:pt idx="4">
                  <c:v>-0.1850812727525052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26369236846155</c:v>
                </c:pt>
                <c:pt idx="1">
                  <c:v>114.36121151531839</c:v>
                </c:pt>
                <c:pt idx="2">
                  <c:v>112.04342983922544</c:v>
                </c:pt>
                <c:pt idx="3">
                  <c:v>109.89294815166184</c:v>
                </c:pt>
                <c:pt idx="4">
                  <c:v>107.88629646417569</c:v>
                </c:pt>
                <c:pt idx="5">
                  <c:v>106.004569211302</c:v>
                </c:pt>
                <c:pt idx="6">
                  <c:v>104.62419141229155</c:v>
                </c:pt>
                <c:pt idx="7">
                  <c:v>103.28459370455847</c:v>
                </c:pt>
                <c:pt idx="8">
                  <c:v>101.98347834511938</c:v>
                </c:pt>
                <c:pt idx="9">
                  <c:v>100.97320799258127</c:v>
                </c:pt>
                <c:pt idx="10">
                  <c:v>100</c:v>
                </c:pt>
                <c:pt idx="11">
                  <c:v>99.060902162436903</c:v>
                </c:pt>
                <c:pt idx="12">
                  <c:v>98.153317324976769</c:v>
                </c:pt>
                <c:pt idx="13">
                  <c:v>97.27495035316484</c:v>
                </c:pt>
                <c:pt idx="14">
                  <c:v>96.423764071548987</c:v>
                </c:pt>
                <c:pt idx="15">
                  <c:v>95.597942528359951</c:v>
                </c:pt>
                <c:pt idx="16">
                  <c:v>93.768995098201131</c:v>
                </c:pt>
                <c:pt idx="17">
                  <c:v>92.015645898233174</c:v>
                </c:pt>
                <c:pt idx="18">
                  <c:v>90.332937128172091</c:v>
                </c:pt>
                <c:pt idx="19">
                  <c:v>88.716345883153977</c:v>
                </c:pt>
                <c:pt idx="20">
                  <c:v>87.161737459650553</c:v>
                </c:pt>
                <c:pt idx="21">
                  <c:v>85.665324511324641</c:v>
                </c:pt>
                <c:pt idx="22">
                  <c:v>84.223631223817335</c:v>
                </c:pt>
                <c:pt idx="23">
                  <c:v>82.833461808622872</c:v>
                </c:pt>
                <c:pt idx="24">
                  <c:v>81.4918727247495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12798281993931</c:v>
                </c:pt>
                <c:pt idx="1">
                  <c:v>100.07785709226742</c:v>
                </c:pt>
                <c:pt idx="2">
                  <c:v>99.621359538173493</c:v>
                </c:pt>
                <c:pt idx="3">
                  <c:v>99.248315796895739</c:v>
                </c:pt>
                <c:pt idx="4">
                  <c:v>98.944764269953723</c:v>
                </c:pt>
                <c:pt idx="5">
                  <c:v>98.69955841508613</c:v>
                </c:pt>
                <c:pt idx="6">
                  <c:v>98.860507071279358</c:v>
                </c:pt>
                <c:pt idx="7">
                  <c:v>99.022180201736035</c:v>
                </c:pt>
                <c:pt idx="8">
                  <c:v>99.184060563502612</c:v>
                </c:pt>
                <c:pt idx="9">
                  <c:v>99.587751399361721</c:v>
                </c:pt>
                <c:pt idx="10">
                  <c:v>100</c:v>
                </c:pt>
                <c:pt idx="11">
                  <c:v>100.41940178701965</c:v>
                </c:pt>
                <c:pt idx="12">
                  <c:v>100.84474740063085</c:v>
                </c:pt>
                <c:pt idx="13">
                  <c:v>101.27499299227651</c:v>
                </c:pt>
                <c:pt idx="14">
                  <c:v>101.70923541362392</c:v>
                </c:pt>
                <c:pt idx="15">
                  <c:v>102.14669144616157</c:v>
                </c:pt>
                <c:pt idx="16">
                  <c:v>101.51625736441356</c:v>
                </c:pt>
                <c:pt idx="17">
                  <c:v>100.91654593002106</c:v>
                </c:pt>
                <c:pt idx="18">
                  <c:v>100.3453216775261</c:v>
                </c:pt>
                <c:pt idx="19">
                  <c:v>99.800549872111375</c:v>
                </c:pt>
                <c:pt idx="20">
                  <c:v>99.280375162615982</c:v>
                </c:pt>
                <c:pt idx="21">
                  <c:v>98.783102855103607</c:v>
                </c:pt>
                <c:pt idx="22">
                  <c:v>98.307182443090838</c:v>
                </c:pt>
                <c:pt idx="23">
                  <c:v>97.8511930866066</c:v>
                </c:pt>
                <c:pt idx="24">
                  <c:v>97.41383077892309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75.626751717794676</c:v>
                </c:pt>
                <c:pt idx="1">
                  <c:v>78.386431226022339</c:v>
                </c:pt>
                <c:pt idx="2">
                  <c:v>80.713943455847058</c:v>
                </c:pt>
                <c:pt idx="3">
                  <c:v>83.005798907603307</c:v>
                </c:pt>
                <c:pt idx="4">
                  <c:v>85.260992190125734</c:v>
                </c:pt>
                <c:pt idx="5">
                  <c:v>87.479003318868052</c:v>
                </c:pt>
                <c:pt idx="6">
                  <c:v>89.996728718018232</c:v>
                </c:pt>
                <c:pt idx="7">
                  <c:v>92.454463113491087</c:v>
                </c:pt>
                <c:pt idx="8">
                  <c:v>94.854345470644375</c:v>
                </c:pt>
                <c:pt idx="9">
                  <c:v>97.443952919984682</c:v>
                </c:pt>
                <c:pt idx="10">
                  <c:v>100</c:v>
                </c:pt>
                <c:pt idx="11">
                  <c:v>102.52331757344808</c:v>
                </c:pt>
                <c:pt idx="12">
                  <c:v>105.01470362631729</c:v>
                </c:pt>
                <c:pt idx="13">
                  <c:v>107.47492672696792</c:v>
                </c:pt>
                <c:pt idx="14">
                  <c:v>109.90472858615041</c:v>
                </c:pt>
                <c:pt idx="15">
                  <c:v>112.30482598316678</c:v>
                </c:pt>
                <c:pt idx="16">
                  <c:v>113.43369872692526</c:v>
                </c:pt>
                <c:pt idx="17">
                  <c:v>114.52881390096825</c:v>
                </c:pt>
                <c:pt idx="18">
                  <c:v>115.59175442596998</c:v>
                </c:pt>
                <c:pt idx="19">
                  <c:v>116.62398177583739</c:v>
                </c:pt>
                <c:pt idx="20">
                  <c:v>117.62684896610094</c:v>
                </c:pt>
                <c:pt idx="21">
                  <c:v>118.60161184898917</c:v>
                </c:pt>
                <c:pt idx="22">
                  <c:v>119.54943896691645</c:v>
                </c:pt>
                <c:pt idx="23">
                  <c:v>120.47142017450751</c:v>
                </c:pt>
                <c:pt idx="24">
                  <c:v>121.368574205253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30016686750972993</c:v>
                </c:pt>
                <c:pt idx="1">
                  <c:v>0.31127532993021051</c:v>
                </c:pt>
                <c:pt idx="2">
                  <c:v>0.32203665290005096</c:v>
                </c:pt>
                <c:pt idx="3">
                  <c:v>0.33246685824004979</c:v>
                </c:pt>
                <c:pt idx="4">
                  <c:v>0.34258099675156434</c:v>
                </c:pt>
                <c:pt idx="5">
                  <c:v>0.35239322068064549</c:v>
                </c:pt>
                <c:pt idx="6">
                  <c:v>0.36191684978828298</c:v>
                </c:pt>
                <c:pt idx="7">
                  <c:v>0.37116443167540936</c:v>
                </c:pt>
                <c:pt idx="8">
                  <c:v>0.38014779693718931</c:v>
                </c:pt>
                <c:pt idx="9">
                  <c:v>0.3888781096563837</c:v>
                </c:pt>
                <c:pt idx="10">
                  <c:v>0.39736591368893426</c:v>
                </c:pt>
                <c:pt idx="11">
                  <c:v>0.40562117514524992</c:v>
                </c:pt>
                <c:pt idx="12">
                  <c:v>0.41365332142707117</c:v>
                </c:pt>
                <c:pt idx="13">
                  <c:v>0.4214712771413765</c:v>
                </c:pt>
                <c:pt idx="14">
                  <c:v>0.42908349717899025</c:v>
                </c:pt>
                <c:pt idx="15">
                  <c:v>0.43649799721562665</c:v>
                </c:pt>
                <c:pt idx="16">
                  <c:v>0.44372238186670854</c:v>
                </c:pt>
                <c:pt idx="17">
                  <c:v>0.45076387070383861</c:v>
                </c:pt>
                <c:pt idx="18">
                  <c:v>0.45762932232004072</c:v>
                </c:pt>
                <c:pt idx="19">
                  <c:v>0.46432525661238594</c:v>
                </c:pt>
                <c:pt idx="20">
                  <c:v>0.47085787543418611</c:v>
                </c:pt>
                <c:pt idx="21">
                  <c:v>0.47723308175425611</c:v>
                </c:pt>
                <c:pt idx="22">
                  <c:v>0.48345649744765778</c:v>
                </c:pt>
                <c:pt idx="23">
                  <c:v>0.48953347983062678</c:v>
                </c:pt>
                <c:pt idx="24">
                  <c:v>0.4954691370418982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Hawaiian Tropic Ozono Lotion FPS50+ 240ml (4.4%)</c:v>
                </c:pt>
                <c:pt idx="4">
                  <c:v>Nivea Sun Protection Sensitive Skin Gel FPS50+ 200ml (5.1%)</c:v>
                </c:pt>
                <c:pt idx="5">
                  <c:v>Banana Boat Aqua Protect Sport Lotion FPS50+ 236ml (3.1%)</c:v>
                </c:pt>
                <c:pt idx="6">
                  <c:v>Hawaiian Tropic Sheer Touch Lotion FPS50+ 240ml (4.4%)</c:v>
                </c:pt>
                <c:pt idx="7">
                  <c:v>Hawaiian Tropic Island Sport Lotion FPS50 240ml (3.6%)</c:v>
                </c:pt>
                <c:pt idx="8">
                  <c:v>Banana Boat Aqua Protect Cream FPS50+ 236ml (2.7%)</c:v>
                </c:pt>
                <c:pt idx="9">
                  <c:v>Nivea Sun Babies &amp; Kids Lotion FPS50+ 200ml (2.3%)</c:v>
                </c:pt>
              </c:strCache>
            </c:strRef>
          </c:cat>
          <c:val>
            <c:numRef>
              <c:f>Sheet1!$B$2:$B$11</c:f>
              <c:numCache>
                <c:formatCode>General</c:formatCode>
                <c:ptCount val="10"/>
                <c:pt idx="0">
                  <c:v>8.9873564987500432E-2</c:v>
                </c:pt>
                <c:pt idx="1">
                  <c:v>5.7010878297289229E-2</c:v>
                </c:pt>
                <c:pt idx="2">
                  <c:v>4.8270846143307906E-2</c:v>
                </c:pt>
                <c:pt idx="3">
                  <c:v>4.7535414315797796E-2</c:v>
                </c:pt>
                <c:pt idx="4">
                  <c:v>4.7257321280725295E-2</c:v>
                </c:pt>
                <c:pt idx="5">
                  <c:v>4.3924360468381808E-2</c:v>
                </c:pt>
                <c:pt idx="6">
                  <c:v>3.3438944419843658E-2</c:v>
                </c:pt>
                <c:pt idx="7">
                  <c:v>3.1372698233462094E-2</c:v>
                </c:pt>
                <c:pt idx="8">
                  <c:v>3.0236316496386584E-2</c:v>
                </c:pt>
                <c:pt idx="9">
                  <c:v>2.704941568409797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chart" Target="../charts/chart145.xml"/><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chart" Target="../charts/chart148.xml"/><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chart" Target="../charts/chart152.xml"/><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chart" Target="../charts/chart155.xml"/><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chart" Target="../charts/chart158.xml"/><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chart" Target="../charts/chart162.xml"/><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chart" Target="../charts/chart166.xml"/><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chart" Target="../charts/chart169.xml"/><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3" Type="http://schemas.openxmlformats.org/officeDocument/2006/relationships/chart" Target="../charts/chart173.xml"/><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3" Type="http://schemas.openxmlformats.org/officeDocument/2006/relationships/chart" Target="../charts/chart176.xml"/><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3" Type="http://schemas.openxmlformats.org/officeDocument/2006/relationships/chart" Target="../charts/chart179.xml"/><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chart" Target="../charts/chart183.xml"/><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chart" Target="../charts/chart186.xml"/><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chart" Target="../charts/chart190.xml"/><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chart" Target="../charts/chart193.xml"/><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chart" Target="../charts/chart196.xml"/><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chart" Target="../charts/chart200.xml"/><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chart" Target="../charts/chart204.xml"/><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7.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chart" Target="../charts/chart6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chart" Target="../charts/chart70.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chart" Target="../charts/chart80.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chart" Target="../charts/chart8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chart" Target="../charts/chart88.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chart" Target="../charts/chart90.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chart" Target="../charts/chart94.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chart" Target="../charts/chart98.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0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chart" Target="../charts/chart107.xml"/><Relationship Id="rId2" Type="http://schemas.openxmlformats.org/officeDocument/2006/relationships/chart" Target="../charts/chart106.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08.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1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chart" Target="../charts/chart117.xml"/><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18.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chart" Target="../charts/chart123.xml"/><Relationship Id="rId2" Type="http://schemas.openxmlformats.org/officeDocument/2006/relationships/chart" Target="../charts/chart122.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24.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chart" Target="../charts/chart127.xml"/><Relationship Id="rId2" Type="http://schemas.openxmlformats.org/officeDocument/2006/relationships/chart" Target="../charts/chart12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28.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32.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chart" Target="../charts/chart138.xml"/><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chart" Target="../charts/chart141.xml"/><Relationship Id="rId2" Type="http://schemas.openxmlformats.org/officeDocument/2006/relationships/chart" Target="../charts/chart14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E7EE2-334A-ABE7-76C3-C398023863EE}"/>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C715E0C8-E457-03D5-5A68-289DDEEDFC96}"/>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AB7F0224-256C-1C87-BC0D-9F36542C8D2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972FA693-B164-CF6D-0197-FA59FE44ECA4}"/>
              </a:ext>
            </a:extLst>
          </p:cNvPr>
          <p:cNvSpPr>
            <a:spLocks noGrp="1"/>
          </p:cNvSpPr>
          <p:nvPr>
            <p:ph type="body" sz="quarter" idx="18"/>
          </p:nvPr>
        </p:nvSpPr>
        <p:spPr>
          <a:xfrm>
            <a:off x="503238" y="774000"/>
            <a:ext cx="8136762" cy="360000"/>
          </a:xfrm>
        </p:spPr>
        <p:txBody>
          <a:bodyPr/>
          <a:lstStyle/>
          <a:p>
            <a:pPr>
              <a:defRPr sz="1200"/>
            </a:pPr>
            <a:r>
              <a:t>Based on price change | by Brand | Sun Care | Walmart</a:t>
            </a:r>
          </a:p>
        </p:txBody>
      </p:sp>
      <p:sp>
        <p:nvSpPr>
          <p:cNvPr id="3" name="Title 2">
            <a:extLst>
              <a:ext uri="{FF2B5EF4-FFF2-40B4-BE49-F238E27FC236}">
                <a16:creationId xmlns:a16="http://schemas.microsoft.com/office/drawing/2014/main" id="{68ECBD7B-FD15-F35B-300D-57DADFD3014A}"/>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EDFCBC36-4F11-D674-5BE1-EE9CDDC70A20}"/>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C622D3CA-3874-87D4-1852-EDD521FC8246}"/>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D3BB5C76-9267-6967-4535-C2095A7FB440}"/>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A1F9337C-7E62-C93C-ACB7-3C970264C294}"/>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6E223A90-1303-48F6-5E9D-248A13BD1EA9}"/>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F5995529-35E9-D669-593F-CBF953EF56DA}"/>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7F518B53-598A-54FF-AC35-CB493EF87EE3}"/>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E624133A-F86B-0F56-4F10-407EF930551B}"/>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A1DFEF9F-C61D-C359-DE4D-DEEB2228BF89}"/>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401468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36D4E2-D00C-2740-D9FC-FB95F6B4E16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593F66F-2AC9-6788-62F4-DBBEC5F6962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C57591F-0095-D748-36AA-39BAD68AE473}"/>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84F0B07-7FFA-94D5-8A72-28006327465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E1372DC-594D-2F5E-D80A-6968E86C3C9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2057D39-C8D3-565C-91E9-5044D7F36F15}"/>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eutrogena (2.7%) | Up &amp; Down Pricing | Walmart | Assumes no other are changing prices</a:t>
            </a:r>
          </a:p>
        </p:txBody>
      </p:sp>
      <p:sp>
        <p:nvSpPr>
          <p:cNvPr id="4" name="Title1">
            <a:extLst>
              <a:ext uri="{FF2B5EF4-FFF2-40B4-BE49-F238E27FC236}">
                <a16:creationId xmlns:a16="http://schemas.microsoft.com/office/drawing/2014/main" id="{B229A2F5-6648-2683-B6F0-8B66CC83D14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37C7EB5-D04D-E733-3C77-2FFC3FE10B3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85D9179-E0D3-D53E-9ED9-D0817CA2F318}"/>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B8F30F3D-1D7A-8784-E8ED-24DC4546DCD7}"/>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1E91D207-B058-00D8-E89B-EB8D1A5E181D}"/>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70053363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FBB758-2EDF-24B1-F74F-1EDED399332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EEEEB08-753C-566B-E099-104FE9100B0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5954400-B4D8-38E4-AECE-89C765B7C31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D15A2DB6-3A2A-EB56-0A30-FE55425CF681}"/>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Kids | Price Elasticity | Walmart | Assumes no other products are changing prices</a:t>
            </a:r>
          </a:p>
        </p:txBody>
      </p:sp>
      <p:sp>
        <p:nvSpPr>
          <p:cNvPr id="18" name="Title 17">
            <a:extLst>
              <a:ext uri="{FF2B5EF4-FFF2-40B4-BE49-F238E27FC236}">
                <a16:creationId xmlns:a16="http://schemas.microsoft.com/office/drawing/2014/main" id="{6B44575F-E211-702E-30D2-C3051B7548DE}"/>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236D8FB-64C6-1091-97D7-A7A7A5075BB6}"/>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Kids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Kids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57DF7F8-77C2-C97F-0A29-BCC4EC648416}"/>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5EC8B3A-D42E-9C6F-D414-8332FE13E68B}"/>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68F571B8-E555-CD46-DDA4-C081E3A36575}"/>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3" name="TextBox Y">
            <a:extLst>
              <a:ext uri="{FF2B5EF4-FFF2-40B4-BE49-F238E27FC236}">
                <a16:creationId xmlns:a16="http://schemas.microsoft.com/office/drawing/2014/main" id="{E75A2888-C823-14B6-017F-0C024F46F07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6453476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5D01E-F62A-D631-3FE5-36181532367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171D713-7601-DB8C-64BF-4D48A2EA886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A0D21E4-533E-D7AC-847D-A379C8A13CB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F799A1A-B666-56E4-7E1C-F013882C83F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Cream FPS50+ 236ml | Walmart | Assuming no other products are changing prices</a:t>
            </a:r>
          </a:p>
        </p:txBody>
      </p:sp>
      <p:sp>
        <p:nvSpPr>
          <p:cNvPr id="10" name="Title 9">
            <a:extLst>
              <a:ext uri="{FF2B5EF4-FFF2-40B4-BE49-F238E27FC236}">
                <a16:creationId xmlns:a16="http://schemas.microsoft.com/office/drawing/2014/main" id="{592BA409-43F2-CDB7-BFF6-E57D1C5B525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66AAEE7-B43F-7B19-48E4-116D017E9ED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8942E65-B576-0778-CD2F-61A1350A4A5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B479388-2D61-75D6-CDD8-F5DF2EF4D65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EAC4E36-671B-6142-8386-790B2F95354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E24CC4F-6D87-5662-4661-2229D9351FAD}"/>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89C33193-5E23-91D4-9571-4701600AF6CF}"/>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a:extLst>
              <a:ext uri="{FF2B5EF4-FFF2-40B4-BE49-F238E27FC236}">
                <a16:creationId xmlns:a16="http://schemas.microsoft.com/office/drawing/2014/main" id="{A47DBEA7-47B4-344E-EABC-BF44DF3F9EDE}"/>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1EA29610-4D18-2809-D02A-2C5AFBE6F284}"/>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09F20697-4B43-2DA1-B86B-4CA521427077}"/>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147CD891-6E3C-5FE5-259C-12DE37CF08D6}"/>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8249C8AC-1193-F15B-CA5E-13651F87083D}"/>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012FF2CE-5147-D70E-8FEA-413A3D697782}"/>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0F20F862-BBF2-8F5F-0CAA-B82687CAF7F1}"/>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a:extLst>
              <a:ext uri="{FF2B5EF4-FFF2-40B4-BE49-F238E27FC236}">
                <a16:creationId xmlns:a16="http://schemas.microsoft.com/office/drawing/2014/main" id="{E6F58272-A222-5794-2A80-EC5F1BDF668A}"/>
              </a:ext>
            </a:extLst>
          </p:cNvPr>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a:extLst>
              <a:ext uri="{FF2B5EF4-FFF2-40B4-BE49-F238E27FC236}">
                <a16:creationId xmlns:a16="http://schemas.microsoft.com/office/drawing/2014/main" id="{4A25BEA5-8BC9-7181-F6FA-AD3256B28C66}"/>
              </a:ext>
            </a:extLst>
          </p:cNvPr>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0981537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2A4C5-8DEB-C18F-6D25-CA96BCCA7BD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F910CCB-06DD-D835-421D-19DE99B8785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BBC37AA-481E-73D3-CB27-0712346FFDB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47ED3C1-7F7E-FFDD-56CF-F6CEDF74E4C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F8E8623-D22B-5043-C855-EA71E30AE7A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147B8C7-18E9-5FD6-07D4-EEC76638997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Cream FPS50+ 236ml (1.9%) | Up &amp; Down Pricing | Walmart | Assumes no other are changing prices</a:t>
            </a:r>
          </a:p>
        </p:txBody>
      </p:sp>
      <p:sp>
        <p:nvSpPr>
          <p:cNvPr id="4" name="Title1">
            <a:extLst>
              <a:ext uri="{FF2B5EF4-FFF2-40B4-BE49-F238E27FC236}">
                <a16:creationId xmlns:a16="http://schemas.microsoft.com/office/drawing/2014/main" id="{D2102EDD-70E9-3A0A-232F-BA94A9107CC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C1E5FF2-E113-BEB5-08E1-0EAF3D29425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C4DC6C3-DCE2-448B-7E41-2D0C5BD2EE2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8AF0877-9B67-45C6-2251-3554E0F8431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EB68D33-B1C8-B2F2-4F95-B13D0217A1BC}"/>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EB4EC216-A9E7-7F10-39A3-BE047865F8CC}"/>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99221888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703EE9-935E-AE9E-8E51-3111D2175A5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C114F47-76E7-4350-2E0F-EF607ADC1E8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E400DFB-F09D-1EA9-A09C-F4EF0AE01A6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9ABC44F6-3F13-1B92-F65A-F2440B8791A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Spray FPS50+ 170g | Walmart | Assuming no other products are changing prices</a:t>
            </a:r>
          </a:p>
        </p:txBody>
      </p:sp>
      <p:sp>
        <p:nvSpPr>
          <p:cNvPr id="10" name="Title 9">
            <a:extLst>
              <a:ext uri="{FF2B5EF4-FFF2-40B4-BE49-F238E27FC236}">
                <a16:creationId xmlns:a16="http://schemas.microsoft.com/office/drawing/2014/main" id="{B569D5C1-EE54-59A8-0D27-32EE40A96D4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EB9296B-FD56-A3A8-68E5-F2C0473EA75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4C8B361-28F0-F26A-A05F-3C1276B6481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211DCD6-6DE1-CE0E-A980-7BA4A50CB6E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22313C6-EADF-C1EC-51A0-14A175F920C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2FD3A07-BD0D-E231-6CEB-C9535C8057E8}"/>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83D7C2E6-7429-4175-98CC-D8EFDFD3EE2C}"/>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a:extLst>
              <a:ext uri="{FF2B5EF4-FFF2-40B4-BE49-F238E27FC236}">
                <a16:creationId xmlns:a16="http://schemas.microsoft.com/office/drawing/2014/main" id="{C430B98D-DA07-2533-ED73-DE845996C704}"/>
              </a:ext>
            </a:extLst>
          </p:cNvPr>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73E51B25-1801-688D-A0AC-9919FB202765}"/>
              </a:ext>
            </a:extLst>
          </p:cNvPr>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2BE4D9D9-40E2-B93A-D166-204301F386DF}"/>
              </a:ext>
            </a:extLst>
          </p:cNvPr>
          <p:cNvSpPr/>
          <p:nvPr/>
        </p:nvSpPr>
        <p:spPr>
          <a:xfrm>
            <a:off x="2498040" y="1458000"/>
            <a:ext cx="4125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8796671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8B4E1-278E-4E4B-CF37-9545BC5E1AB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9710B9E-306A-9C12-B068-9171271BBEE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D5FB384-4174-4FD6-17B7-EDF6FFE42C9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DC7605D-7E8A-0DD1-1453-8B3AA28AF58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69E534B-D750-0C95-1D6C-F319DC4726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60844B28-F4E9-7187-150E-FA789429FC5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Spray FPS50+ 170g (0.3%) | Up &amp; Down Pricing | Walmart | Assumes no other are changing prices</a:t>
            </a:r>
          </a:p>
        </p:txBody>
      </p:sp>
      <p:sp>
        <p:nvSpPr>
          <p:cNvPr id="4" name="Title1">
            <a:extLst>
              <a:ext uri="{FF2B5EF4-FFF2-40B4-BE49-F238E27FC236}">
                <a16:creationId xmlns:a16="http://schemas.microsoft.com/office/drawing/2014/main" id="{AA14B420-5CB1-0E4F-48F4-09332B1CF26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A63FAAB-DB9A-2AFC-E820-7A728126596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C82AEA4-F774-6DAD-5513-9CEC6CC2B28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9FA2EDE-9FDC-F629-DEDC-CA99B40CBD4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A20813C-45D1-B298-258B-67D18CC12714}"/>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C3431E74-10F9-D964-48BC-70DE6DE1ACAD}"/>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8089282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765F-B8AD-9176-302D-6DC9ED14C34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57C9D13-5C12-ABFF-8474-83BCF23FD1BF}"/>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F5D2214-B7A7-D33A-AB3B-C6C39F3FF3B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76ECA1FE-9EE4-1E04-9C53-AF518E03C369}"/>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 Price Elasticity | Walmart | Assumes no other products are changing prices</a:t>
            </a:r>
          </a:p>
        </p:txBody>
      </p:sp>
      <p:sp>
        <p:nvSpPr>
          <p:cNvPr id="18" name="Title 17">
            <a:extLst>
              <a:ext uri="{FF2B5EF4-FFF2-40B4-BE49-F238E27FC236}">
                <a16:creationId xmlns:a16="http://schemas.microsoft.com/office/drawing/2014/main" id="{2F9E7175-8CB3-772B-1025-4626CA60640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AFBF379-6FAA-D48B-1F42-12D2EC111DD4}"/>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dvanced Protection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Advanced Protection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382C7920-9947-E1FA-049F-9EAB91E9B68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16FA126-AD13-373E-F51A-F871539E6DB5}"/>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DFF6E63-E2CD-D8B2-2892-3C33EC3E6774}"/>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3" name="TextBox Y">
            <a:extLst>
              <a:ext uri="{FF2B5EF4-FFF2-40B4-BE49-F238E27FC236}">
                <a16:creationId xmlns:a16="http://schemas.microsoft.com/office/drawing/2014/main" id="{7B00E2F2-CE05-D6EA-845B-58CCE1654BE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9079719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7DA8C-4684-D77B-0B0A-673ABED336A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69A5CB-5140-1F43-8BB6-22A2D6BAA8B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1E29C2A-D0EC-563A-4EA0-9A6D1487F44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C795E92D-D700-4F89-2B60-0F155E17E16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Face Fluid FPS50+ 50ml | Walmart | Assuming no other products are changing prices</a:t>
            </a:r>
          </a:p>
        </p:txBody>
      </p:sp>
      <p:sp>
        <p:nvSpPr>
          <p:cNvPr id="10" name="Title 9">
            <a:extLst>
              <a:ext uri="{FF2B5EF4-FFF2-40B4-BE49-F238E27FC236}">
                <a16:creationId xmlns:a16="http://schemas.microsoft.com/office/drawing/2014/main" id="{F135C43C-26E1-2762-FB5B-F71DE7F2488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DFF65C8-4393-E6A1-734A-5DF6AAA8DAB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0C9177A-67F6-9DFF-5173-F6956253022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0B47D29-EF97-FE0A-8E55-C8D1BCFCF1C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A90E047-3F51-842C-227D-AE32BB2D6A6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FDE87CA-1C6F-AD0D-DEB3-90582C367BFE}"/>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52221D4E-8F31-97BA-C2B6-93C5A50E2928}"/>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a:extLst>
              <a:ext uri="{FF2B5EF4-FFF2-40B4-BE49-F238E27FC236}">
                <a16:creationId xmlns:a16="http://schemas.microsoft.com/office/drawing/2014/main" id="{19D55C9A-8EA6-D799-BC3E-A7267F487386}"/>
              </a:ext>
            </a:extLst>
          </p:cNvPr>
          <p:cNvSpPr/>
          <p:nvPr/>
        </p:nvSpPr>
        <p:spPr>
          <a:xfrm>
            <a:off x="9720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0C037DF-1B4A-C770-F866-C4DBCAE94B05}"/>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36486DC8-8BC8-1302-9EC9-C1821EC0EF1E}"/>
              </a:ext>
            </a:extLst>
          </p:cNvPr>
          <p:cNvSpPr/>
          <p:nvPr/>
        </p:nvSpPr>
        <p:spPr>
          <a:xfrm>
            <a:off x="204588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232A9124-F881-CFA7-7E97-ADCDFB0E8AE9}"/>
              </a:ext>
            </a:extLst>
          </p:cNvPr>
          <p:cNvSpPr/>
          <p:nvPr/>
        </p:nvSpPr>
        <p:spPr>
          <a:xfrm>
            <a:off x="2554560" y="1458000"/>
            <a:ext cx="3786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9824E959-4FBB-B362-9EC5-B622CAF47E45}"/>
              </a:ext>
            </a:extLst>
          </p:cNvPr>
          <p:cNvSpPr/>
          <p:nvPr/>
        </p:nvSpPr>
        <p:spPr>
          <a:xfrm>
            <a:off x="63414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4476445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00D93-9F01-3B24-26A1-B841B07112E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1B15656-7815-4D26-2D50-2A9F3F5D5315}"/>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07E5864-23AC-3D73-9DE3-06EDCB383B9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A90577D-056E-10F1-94DE-997FF37C751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2F6D385-BD9B-1910-70E5-8A089A67CBB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2BC1AD7-98A5-1877-A3E6-0A0A40632F5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Face Fluid FPS50+ 50ml (0.2%) | Up &amp; Down Pricing | Walmart | Assumes no other are changing prices</a:t>
            </a:r>
          </a:p>
        </p:txBody>
      </p:sp>
      <p:sp>
        <p:nvSpPr>
          <p:cNvPr id="4" name="Title1">
            <a:extLst>
              <a:ext uri="{FF2B5EF4-FFF2-40B4-BE49-F238E27FC236}">
                <a16:creationId xmlns:a16="http://schemas.microsoft.com/office/drawing/2014/main" id="{9DA43B90-4E43-47CB-198C-67808409CD5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8A39858-DE43-7A72-393C-8AB8113A4E6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B683AD2-F7C5-7CF7-5DA9-12001C21253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C727C9F-5B9E-058F-1E04-0156940F526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8CA4251-F03B-8631-1126-C6CDCD8B97E5}"/>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0EDC0627-27A1-161B-54AD-0FE564E806CD}"/>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12533452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BC786-8A63-E8D2-E247-87C9E723C23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4063F40-E634-343E-FA26-0946241D5E8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06221CB-DE5D-71B7-C081-22E375A77B4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3E0BB16A-9455-E02F-0C57-D653D8F31D0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Sport Roll-on FPS50+ 75ml | Walmart | Assuming no other products are changing prices</a:t>
            </a:r>
          </a:p>
        </p:txBody>
      </p:sp>
      <p:sp>
        <p:nvSpPr>
          <p:cNvPr id="10" name="Title 9">
            <a:extLst>
              <a:ext uri="{FF2B5EF4-FFF2-40B4-BE49-F238E27FC236}">
                <a16:creationId xmlns:a16="http://schemas.microsoft.com/office/drawing/2014/main" id="{C9953E08-0468-2261-9E7C-E38F5EC2338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FA8C1B2-5004-94FA-0F4E-4D025EB6D92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66ED0E9-C4F7-A492-06FE-CC099DA47E4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9FA620D-73B4-A6EE-4487-D00762FC178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5522DAE-ECAB-4760-FCD5-DA9F89E13D3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7F51108-DDB5-3693-F77A-CA0C932E79E6}"/>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CA6E9DD3-F67B-9417-80F9-7859E32067C9}"/>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a:extLst>
              <a:ext uri="{FF2B5EF4-FFF2-40B4-BE49-F238E27FC236}">
                <a16:creationId xmlns:a16="http://schemas.microsoft.com/office/drawing/2014/main" id="{3C3C8B70-A26C-E541-3574-0304F8DA3568}"/>
              </a:ext>
            </a:extLst>
          </p:cNvPr>
          <p:cNvSpPr/>
          <p:nvPr/>
        </p:nvSpPr>
        <p:spPr>
          <a:xfrm>
            <a:off x="972000" y="1458000"/>
            <a:ext cx="4860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55A3204-8D1E-5E33-756D-E3D3A365FCEF}"/>
              </a:ext>
            </a:extLst>
          </p:cNvPr>
          <p:cNvSpPr/>
          <p:nvPr/>
        </p:nvSpPr>
        <p:spPr>
          <a:xfrm>
            <a:off x="583272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33710492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2D45F-6417-F747-B757-7713533235D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0B8BE56-CB0A-37BD-2AAE-0868098277B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552A9FD-6062-B2C0-F12C-81DAECC0F95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CB25B39-8C40-5252-4692-BD6D3392121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123A1B7-4D5A-580F-D3EA-D1C0174C02D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4BE2A967-D2C5-98C6-F347-1E67566D9C2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Sport Roll-on FPS50+ 75ml (0.2%) | Up &amp; Down Pricing | Walmart | Assumes no other are changing prices</a:t>
            </a:r>
          </a:p>
        </p:txBody>
      </p:sp>
      <p:sp>
        <p:nvSpPr>
          <p:cNvPr id="4" name="Title1">
            <a:extLst>
              <a:ext uri="{FF2B5EF4-FFF2-40B4-BE49-F238E27FC236}">
                <a16:creationId xmlns:a16="http://schemas.microsoft.com/office/drawing/2014/main" id="{9D49BA86-BEB5-AEF6-DA3F-317600A54BB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B80B68C-F0B8-E7F9-2B31-AC137595295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64BA312-32C2-9A5E-D70F-C3A069E6714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F461B36-9D74-65A4-82FB-CEFDA1A739A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004BC64-0FDA-7317-53BA-120C16051B24}"/>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72AE3A6C-916E-D97E-830D-EC7C647CFD39}"/>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3188357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FE660-D369-F4F6-E063-E598D0C0B73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46ECD04-BDC3-DC28-DD7A-7322CC555151}"/>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FF40CB6-E1A5-43DF-9813-1EF97B07FB7F}"/>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297D3B4-9B97-A9EA-D2AC-CED5F34D6F6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CD3CE07-4CFC-BFB5-4289-1FE5D235D2D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39F7491-9A6A-B2DB-A889-11C8A02BAF4B}"/>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ibbean Beach (6.6%) | Up &amp; Down Pricing | Walmart | Assumes no other are changing prices</a:t>
            </a:r>
          </a:p>
        </p:txBody>
      </p:sp>
      <p:sp>
        <p:nvSpPr>
          <p:cNvPr id="4" name="Title1">
            <a:extLst>
              <a:ext uri="{FF2B5EF4-FFF2-40B4-BE49-F238E27FC236}">
                <a16:creationId xmlns:a16="http://schemas.microsoft.com/office/drawing/2014/main" id="{6121CA59-4D12-6206-208E-05C98D6737D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4235C34-BA1B-7779-765C-51518E7F3C2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F308FE4-9A3A-4FF7-010E-0D1F2519B22E}"/>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B901713-F036-1531-44FE-FD264B8C0682}"/>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155195A0-BD3B-8AF0-CA5C-BE0E57D6C192}"/>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30282017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D1BBD-5D31-C3FC-66DC-6665A63D53D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9956DAD-ED9F-A4CE-7822-66E97E011E3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D2CE440-82E2-52B3-D2E5-D290649BFF5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162AB675-AD73-F11E-1B1A-A3E3316D558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240ml | Walmart | Assuming no other products are changing prices</a:t>
            </a:r>
          </a:p>
        </p:txBody>
      </p:sp>
      <p:sp>
        <p:nvSpPr>
          <p:cNvPr id="10" name="Title 9">
            <a:extLst>
              <a:ext uri="{FF2B5EF4-FFF2-40B4-BE49-F238E27FC236}">
                <a16:creationId xmlns:a16="http://schemas.microsoft.com/office/drawing/2014/main" id="{8BDB29E3-0EFF-2CDB-24AA-0FC7EB4DEB6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B6E5F7A-3CEA-54CA-0C92-6909AE278A0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DAEAB5E-4678-A4C3-803C-778F81EDA61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D4143EB-0D7C-AB36-466C-40CBDF2D987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6959F66-BF2B-2F29-6D00-64201D1848A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F081715-A198-AEDF-9D4E-2DB565EF7B71}"/>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0DC7AF5E-BCB5-C4B5-5F66-95E551AC64F9}"/>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a:extLst>
              <a:ext uri="{FF2B5EF4-FFF2-40B4-BE49-F238E27FC236}">
                <a16:creationId xmlns:a16="http://schemas.microsoft.com/office/drawing/2014/main" id="{956A72DE-AAAC-0B32-588A-6169D6495BFA}"/>
              </a:ext>
            </a:extLst>
          </p:cNvPr>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9A343EAD-F61A-5872-4D1B-BA0E9701DB7C}"/>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F896D383-0AD0-BF0D-1E35-07A80DA485F8}"/>
              </a:ext>
            </a:extLst>
          </p:cNvPr>
          <p:cNvSpPr/>
          <p:nvPr/>
        </p:nvSpPr>
        <p:spPr>
          <a:xfrm>
            <a:off x="204588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4A53F30C-0E36-A6E4-4995-BDBBA05C0D6C}"/>
              </a:ext>
            </a:extLst>
          </p:cNvPr>
          <p:cNvSpPr/>
          <p:nvPr/>
        </p:nvSpPr>
        <p:spPr>
          <a:xfrm>
            <a:off x="23284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B57ACC16-8F4B-DEB4-3B21-FB72C85B646E}"/>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3767E9C9-9FBF-0566-C5A8-A6C78979598E}"/>
              </a:ext>
            </a:extLst>
          </p:cNvPr>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7ED08A0E-53E3-F4CA-0146-CBF816D035C4}"/>
              </a:ext>
            </a:extLst>
          </p:cNvPr>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52608659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2A2C3-CE38-C8EC-673C-942DEB792CF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3FA2FBD-AB1A-AFB5-BC6A-4C95A7A8491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B2DB62B-7C66-6AC3-7920-436754E7846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D94B820-F569-F55A-B350-93A8189AF27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345FF62-DB47-F626-650B-DF70DFE7654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1023D888-DA3E-8E21-683E-CF6B8676B63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240ml (2.8%) | Up &amp; Down Pricing | Walmart | Assumes no other are changing prices</a:t>
            </a:r>
          </a:p>
        </p:txBody>
      </p:sp>
      <p:sp>
        <p:nvSpPr>
          <p:cNvPr id="4" name="Title1">
            <a:extLst>
              <a:ext uri="{FF2B5EF4-FFF2-40B4-BE49-F238E27FC236}">
                <a16:creationId xmlns:a16="http://schemas.microsoft.com/office/drawing/2014/main" id="{ED9B7D78-CA87-8487-1283-6829FA19529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BA3A17C-8A08-1F84-C904-0CCD3629BE4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84BD0EE-4B15-D7A1-87C0-0266EE68F2F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F56397C-F346-8C0E-0D7F-B42E3512B6C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7980251-30D1-08CA-AAB1-8958C401E1E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6E26CC5C-449B-D4F7-E989-38E439E6C0E6}"/>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9179993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7B065-6D5B-96B2-07F1-04BEEF9CA4D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FA3C6D9-69AC-E844-0009-E8B6ADA4D07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22C759C-EE5B-7EC3-AE40-9D5869B97BF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2A324FC4-BBEE-9B3C-8709-8131E387EA49}"/>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Innovation | Price Elasticity | Walmart | Assumes no other products are changing prices</a:t>
            </a:r>
          </a:p>
        </p:txBody>
      </p:sp>
      <p:sp>
        <p:nvSpPr>
          <p:cNvPr id="18" name="Title 17">
            <a:extLst>
              <a:ext uri="{FF2B5EF4-FFF2-40B4-BE49-F238E27FC236}">
                <a16:creationId xmlns:a16="http://schemas.microsoft.com/office/drawing/2014/main" id="{D4081447-2643-2D5D-D6EB-54D61846BA1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7B657EF-A88F-D0CD-9ECA-146785B6D18B}"/>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Lotion FPS50+ 36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CD1D7A73-D201-F450-1837-2C40838B6E2E}"/>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2A967B2E-8BD5-23E3-E8A9-08CD1A6C4548}"/>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7102057D-D818-2862-129E-0A34050477D9}"/>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3" name="TextBox Y">
            <a:extLst>
              <a:ext uri="{FF2B5EF4-FFF2-40B4-BE49-F238E27FC236}">
                <a16:creationId xmlns:a16="http://schemas.microsoft.com/office/drawing/2014/main" id="{15DAB8AF-833A-C9C2-A55A-3024D56F8BEE}"/>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815048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6DA659-3A57-7FB8-A59B-D601186F77A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A8117C4-3485-FC59-364F-00F5AD4DDEA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B0D3EC3-9E35-CB4E-1DFB-96C16101715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5688722-9403-C502-C15D-82E530E6D37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360ml | Walmart | Assuming no other products are changing prices</a:t>
            </a:r>
          </a:p>
        </p:txBody>
      </p:sp>
      <p:sp>
        <p:nvSpPr>
          <p:cNvPr id="10" name="Title 9">
            <a:extLst>
              <a:ext uri="{FF2B5EF4-FFF2-40B4-BE49-F238E27FC236}">
                <a16:creationId xmlns:a16="http://schemas.microsoft.com/office/drawing/2014/main" id="{DA83CEA0-9441-49BE-AC78-5B9111523F9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A6FF0F9-4D57-2531-B2AF-A56CF5C3201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404DFAB-1899-B407-B5A6-10ED40039FC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625147F-90E2-F15A-A032-1BF6356025F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58D6416-21B4-7313-013B-6230F55AF2D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5D4210B-5DEB-FEE3-05DD-77963955E8CD}"/>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7BC3D530-2816-846A-767A-9479229DECA3}"/>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a:extLst>
              <a:ext uri="{FF2B5EF4-FFF2-40B4-BE49-F238E27FC236}">
                <a16:creationId xmlns:a16="http://schemas.microsoft.com/office/drawing/2014/main" id="{C768D1B0-54B8-DD00-A390-BEE9FD0FA5C1}"/>
              </a:ext>
            </a:extLst>
          </p:cNvPr>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E42ADC3C-7023-018F-24C6-B48C0884EF24}"/>
              </a:ext>
            </a:extLst>
          </p:cNvPr>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6F125302-8A7D-9143-0F9E-D5F88E9D0D03}"/>
              </a:ext>
            </a:extLst>
          </p:cNvPr>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B0D7D630-C09D-2AFD-3C71-923955845F2D}"/>
              </a:ext>
            </a:extLst>
          </p:cNvPr>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BA6DCCCE-6F5B-2366-5C8B-68F3AD46630F}"/>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56150308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98B203-3C26-0DBE-038F-625B293F9B8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7635781-9338-6B0D-4B10-5578F37E626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FCAF737-893C-9CBA-755B-A7AC7F4E733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9EEC84B-7297-C87E-191E-494B2EC7A31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508309D-747A-DE4D-CA07-DB4F4AA5D66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66410B2-73DB-B538-7E71-104E755DA5E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360ml (0.0%) | Up &amp; Down Pricing | Walmart | Assumes no other are changing prices</a:t>
            </a:r>
          </a:p>
        </p:txBody>
      </p:sp>
      <p:sp>
        <p:nvSpPr>
          <p:cNvPr id="4" name="Title1">
            <a:extLst>
              <a:ext uri="{FF2B5EF4-FFF2-40B4-BE49-F238E27FC236}">
                <a16:creationId xmlns:a16="http://schemas.microsoft.com/office/drawing/2014/main" id="{580332AA-3816-ED01-0C14-26E8294F7F3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0A792BB-4A84-098A-D633-C0B29E87546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44C17F9-E5F7-AB0D-447F-51B456000CD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583D08B-8715-0814-26ED-03EC855ACB9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497C52C-DC85-9A1A-CFA1-F438C9843598}"/>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8868EA55-364B-36FF-8F1D-5D41EC26480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8046438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6F1D5-145A-A713-F9AD-0AC89B8124D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DB5ADC8-0588-74CC-48F7-7444655B054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225C9E2-075C-A232-19C4-5D0162174E8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2D06DDD1-3B0C-D6AC-61C7-A2C3B7325BA6}"/>
              </a:ext>
            </a:extLst>
          </p:cNvPr>
          <p:cNvSpPr>
            <a:spLocks noGrp="1"/>
          </p:cNvSpPr>
          <p:nvPr>
            <p:ph type="body" sz="quarter" idx="18"/>
          </p:nvPr>
        </p:nvSpPr>
        <p:spPr>
          <a:xfrm>
            <a:off x="503238" y="774000"/>
            <a:ext cx="8136762" cy="360000"/>
          </a:xfrm>
        </p:spPr>
        <p:txBody>
          <a:bodyPr/>
          <a:lstStyle/>
          <a:p>
            <a:pPr>
              <a:defRPr sz="1200">
                <a:latin typeface="Nexa Bold (Headings)"/>
              </a:defRPr>
            </a:pPr>
            <a:r>
              <a:t>BB Dry Balance | Price Elasticity | Walmart | Assumes no other products are changing prices</a:t>
            </a:r>
          </a:p>
        </p:txBody>
      </p:sp>
      <p:sp>
        <p:nvSpPr>
          <p:cNvPr id="18" name="Title 17">
            <a:extLst>
              <a:ext uri="{FF2B5EF4-FFF2-40B4-BE49-F238E27FC236}">
                <a16:creationId xmlns:a16="http://schemas.microsoft.com/office/drawing/2014/main" id="{509B3E42-CE2D-BF06-4990-C70AFC57DBA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37634ECC-00EA-0153-7697-F07ED3248088}"/>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Spray FPS50 17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88D6C2D-304C-97B2-03EA-CFCE74FFFF9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0147D5C0-26AD-C2A2-AF3D-C79628FC302B}"/>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9D4290E2-B24F-E118-9FF4-BD880058654B}"/>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3" name="TextBox Y">
            <a:extLst>
              <a:ext uri="{FF2B5EF4-FFF2-40B4-BE49-F238E27FC236}">
                <a16:creationId xmlns:a16="http://schemas.microsoft.com/office/drawing/2014/main" id="{3986A2EC-C287-8D79-6D18-F3ECD93A928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2165740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283DB-E17F-30DE-E126-1A3C7E56960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1760602-2C44-D06D-3866-F4EE106E1F7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90A75FD-3EB0-FE9B-E499-2F8728BCA7B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2AE4B20-C57D-4D90-3713-E02ACC15A6E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Lotion FPS50+ 180ml | Walmart | Assuming no other products are changing prices</a:t>
            </a:r>
          </a:p>
        </p:txBody>
      </p:sp>
      <p:sp>
        <p:nvSpPr>
          <p:cNvPr id="10" name="Title 9">
            <a:extLst>
              <a:ext uri="{FF2B5EF4-FFF2-40B4-BE49-F238E27FC236}">
                <a16:creationId xmlns:a16="http://schemas.microsoft.com/office/drawing/2014/main" id="{C9ADD487-5E9E-F95A-CAFD-6A83134A7EB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8A3494C-2A67-1189-F980-C9254415D40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84E6EC9-9271-8A84-9EF3-4427492F3B4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3CE4377-9565-2738-114E-D63A81FAE40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EF215BD-39EF-39E1-0B80-FAB2A5343D5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8DB9935-964B-0288-D1CE-8AE3606AC318}"/>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11B657BA-D513-12ED-DCB5-EB41307F67C0}"/>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a:extLst>
              <a:ext uri="{FF2B5EF4-FFF2-40B4-BE49-F238E27FC236}">
                <a16:creationId xmlns:a16="http://schemas.microsoft.com/office/drawing/2014/main" id="{C66107B6-41AF-5EE3-CBDF-0153681EBA04}"/>
              </a:ext>
            </a:extLst>
          </p:cNvPr>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446C7338-A9ED-FBCC-7C88-594B324AF8DE}"/>
              </a:ext>
            </a:extLst>
          </p:cNvPr>
          <p:cNvSpPr/>
          <p:nvPr/>
        </p:nvSpPr>
        <p:spPr>
          <a:xfrm>
            <a:off x="15372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C03B3E2A-E383-6051-1A35-E2CC1D9E6D49}"/>
              </a:ext>
            </a:extLst>
          </p:cNvPr>
          <p:cNvSpPr/>
          <p:nvPr/>
        </p:nvSpPr>
        <p:spPr>
          <a:xfrm>
            <a:off x="23284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A34916E2-A921-EC65-D529-B9A594C25CE6}"/>
              </a:ext>
            </a:extLst>
          </p:cNvPr>
          <p:cNvSpPr/>
          <p:nvPr/>
        </p:nvSpPr>
        <p:spPr>
          <a:xfrm>
            <a:off x="3119760" y="1458000"/>
            <a:ext cx="1017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78A11494-6385-677C-D4BA-2023F82B743C}"/>
              </a:ext>
            </a:extLst>
          </p:cNvPr>
          <p:cNvSpPr/>
          <p:nvPr/>
        </p:nvSpPr>
        <p:spPr>
          <a:xfrm>
            <a:off x="413712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070A340C-9AF5-40EC-79DB-F0309D124DA0}"/>
              </a:ext>
            </a:extLst>
          </p:cNvPr>
          <p:cNvSpPr/>
          <p:nvPr/>
        </p:nvSpPr>
        <p:spPr>
          <a:xfrm>
            <a:off x="4476240" y="1458000"/>
            <a:ext cx="1582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6A8E239F-DA21-0C29-A9C2-DF7F05B62CD1}"/>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4193228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AA7CDE-A81F-446C-5373-85803E82A47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38DA8CF-5FA5-97C0-33CE-DCCD531F98B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D922E61-9097-9BA5-973F-7AC5A891583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FFAAE0D-4517-CEBC-67CB-5BC51030B1D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EBFB658-FEE6-4FDB-E046-8AC3C9DA701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6020C66D-33E6-483B-668F-A8014EA99C6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Lotion FPS50+ 180ml (0.5%) | Up &amp; Down Pricing | Walmart | Assumes no other are changing prices</a:t>
            </a:r>
          </a:p>
        </p:txBody>
      </p:sp>
      <p:sp>
        <p:nvSpPr>
          <p:cNvPr id="4" name="Title1">
            <a:extLst>
              <a:ext uri="{FF2B5EF4-FFF2-40B4-BE49-F238E27FC236}">
                <a16:creationId xmlns:a16="http://schemas.microsoft.com/office/drawing/2014/main" id="{B73FC2D8-FB41-1557-4C34-8943958A04C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B49AD3F-7643-49DE-C2D4-3620C974587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AE0ACA3-92BB-4981-B984-9D1C6685437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28B78F6-3681-F044-82CB-57078D02513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86E6FC6-D013-60F2-2467-047F5746FB49}"/>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2280E45-178B-2A58-3C02-DA63B4D63D5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395194693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66F1E-D341-0566-997D-2E4FAB6D4D4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9B9F45C-7063-AB47-CA38-3BF91129D3B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5EB2053-A048-3339-A433-885DBE005C4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5A9475C-2AC2-A475-D11E-43F0C68A61E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pray FPS50 170ml | Walmart | Assuming no other products are changing prices</a:t>
            </a:r>
          </a:p>
        </p:txBody>
      </p:sp>
      <p:sp>
        <p:nvSpPr>
          <p:cNvPr id="10" name="Title 9">
            <a:extLst>
              <a:ext uri="{FF2B5EF4-FFF2-40B4-BE49-F238E27FC236}">
                <a16:creationId xmlns:a16="http://schemas.microsoft.com/office/drawing/2014/main" id="{E3E63800-25C1-8B83-AE6A-F49E29ABDF8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8F0CA82-720B-E674-0503-461BFBDD2BB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F501977-73FA-ED84-ACFD-86A8A5E5BEB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F6A946B-4938-8505-4DA2-BAEC3EC3687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C753248-B839-C267-2250-C1FADDDB63D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B6CE6B7-1ECD-3FD6-7440-13A31B0119C2}"/>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AA0986B8-8E6D-3DFF-AB7B-D74B1B20F0C6}"/>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a:extLst>
              <a:ext uri="{FF2B5EF4-FFF2-40B4-BE49-F238E27FC236}">
                <a16:creationId xmlns:a16="http://schemas.microsoft.com/office/drawing/2014/main" id="{5BD05527-4054-50C2-AC75-8F134E8C8220}"/>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B2425E7-1D97-FC82-A9E7-063AFBAE596F}"/>
              </a:ext>
            </a:extLst>
          </p:cNvPr>
          <p:cNvSpPr/>
          <p:nvPr/>
        </p:nvSpPr>
        <p:spPr>
          <a:xfrm>
            <a:off x="119808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75B169E9-DAF9-E642-394E-D23BB29E9EF6}"/>
              </a:ext>
            </a:extLst>
          </p:cNvPr>
          <p:cNvSpPr/>
          <p:nvPr/>
        </p:nvSpPr>
        <p:spPr>
          <a:xfrm>
            <a:off x="328932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F3C1B343-09ED-B898-947D-CC4C3A4BFAAC}"/>
              </a:ext>
            </a:extLst>
          </p:cNvPr>
          <p:cNvSpPr/>
          <p:nvPr/>
        </p:nvSpPr>
        <p:spPr>
          <a:xfrm>
            <a:off x="600228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1685180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F6389-5E49-9261-8A6A-D0E0E068CD7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4ADBAEF-5412-8689-FD5A-C18B1A756BA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8B3C372-3681-0971-1603-94DEC854405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3010C6D-3434-C754-F79C-7D9AADA23BE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AFE7C5C-890C-E29E-C084-CC325274AA2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453B428-C0BD-6534-A783-E64E704961D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pray FPS50 170ml (1.2%) | Up &amp; Down Pricing | Walmart | Assumes no other are changing prices</a:t>
            </a:r>
          </a:p>
        </p:txBody>
      </p:sp>
      <p:sp>
        <p:nvSpPr>
          <p:cNvPr id="4" name="Title1">
            <a:extLst>
              <a:ext uri="{FF2B5EF4-FFF2-40B4-BE49-F238E27FC236}">
                <a16:creationId xmlns:a16="http://schemas.microsoft.com/office/drawing/2014/main" id="{83539F98-F55B-B858-9AF6-86D5535C96F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562009B-F246-AE22-2944-D1FAA1E38B8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6A658BB-A476-CF1D-D975-24842E8ABFB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A417981-8202-D5A8-E6CB-ED01524B57A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6138385-3433-D7C1-260D-430AE38DAEA2}"/>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4C7CB720-6FAB-F0EC-DD35-0A30A12AD5D9}"/>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53498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D90E2-9B05-CD93-72E5-8B17BE87C2E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A7BC331-4A29-98EF-16A8-191AA2818974}"/>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5D0811A-AD38-A01C-6DC2-9724CCE927FB}"/>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D73BEBB-F7C9-B184-D6CE-E692B588414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A414611-675D-A495-C37C-7CCCA636865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1FF88B84-552D-1402-06AB-71C97FD183E8}"/>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ustralian Gold (0.1%) | Up &amp; Down Pricing | Walmart | Assumes no other are changing prices</a:t>
            </a:r>
          </a:p>
        </p:txBody>
      </p:sp>
      <p:sp>
        <p:nvSpPr>
          <p:cNvPr id="4" name="Title1">
            <a:extLst>
              <a:ext uri="{FF2B5EF4-FFF2-40B4-BE49-F238E27FC236}">
                <a16:creationId xmlns:a16="http://schemas.microsoft.com/office/drawing/2014/main" id="{0FCCF84C-33B7-2B99-9006-F72C174AC2C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11B507B-22EC-2C43-EF7A-60D7615D85FB}"/>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1B2D0FF-C0E1-7F37-FF26-A63D3FA20B30}"/>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34534354-16AC-31EE-E77F-D60E71915C5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59B47850-4E23-34A5-B858-F6890012BB61}"/>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426549413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6271D-EFC7-6FA5-21F2-20A0CA6886A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FA3B772-8032-CDF0-F56B-198AB058885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63D8145-4166-EC88-E290-BF46153B82C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6CE2415E-050C-0790-4C74-072C9D470BBD}"/>
              </a:ext>
            </a:extLst>
          </p:cNvPr>
          <p:cNvSpPr>
            <a:spLocks noGrp="1"/>
          </p:cNvSpPr>
          <p:nvPr>
            <p:ph type="body" sz="quarter" idx="18"/>
          </p:nvPr>
        </p:nvSpPr>
        <p:spPr>
          <a:xfrm>
            <a:off x="503238" y="774000"/>
            <a:ext cx="8136762" cy="360000"/>
          </a:xfrm>
        </p:spPr>
        <p:txBody>
          <a:bodyPr/>
          <a:lstStyle/>
          <a:p>
            <a:pPr>
              <a:defRPr sz="1200">
                <a:latin typeface="Nexa Bold (Headings)"/>
              </a:defRPr>
            </a:pPr>
            <a:r>
              <a:t>BB Sport Innovation | Price Elasticity | Walmart | Assumes no other products are changing prices</a:t>
            </a:r>
          </a:p>
        </p:txBody>
      </p:sp>
      <p:sp>
        <p:nvSpPr>
          <p:cNvPr id="18" name="Title 17">
            <a:extLst>
              <a:ext uri="{FF2B5EF4-FFF2-40B4-BE49-F238E27FC236}">
                <a16:creationId xmlns:a16="http://schemas.microsoft.com/office/drawing/2014/main" id="{1084B9F0-AA12-F1B1-345D-605B18032A1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DD94BA0-51D1-2D05-52B2-30CBCD3D172E}"/>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Stick FPS50+ 4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Aerosol FPS50+ 2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Sport Lotion FPS50+ 354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43423BF-D0C4-86F9-39B3-B43F63EE865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A15D472-5825-91AC-4A5E-58AE8C335836}"/>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E8353AAD-C556-AE0B-ACFA-9DE50DC77BE4}"/>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3" name="TextBox Y">
            <a:extLst>
              <a:ext uri="{FF2B5EF4-FFF2-40B4-BE49-F238E27FC236}">
                <a16:creationId xmlns:a16="http://schemas.microsoft.com/office/drawing/2014/main" id="{25AD51F6-5BFD-B6EE-B69E-FC74BFCB6AE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70810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C98B1-79A0-8D1F-C79C-72F2CA51EAE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002963F-988D-C3F2-A210-1EFCDEF9FA9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E4B6B06-4AC3-4593-53AE-3220C57394D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5C2CB57-D103-69A8-2A8B-8DE74F0AC46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tick FPS50+ 40g | Walmart | Assuming no other products are changing prices</a:t>
            </a:r>
          </a:p>
        </p:txBody>
      </p:sp>
      <p:sp>
        <p:nvSpPr>
          <p:cNvPr id="10" name="Title 9">
            <a:extLst>
              <a:ext uri="{FF2B5EF4-FFF2-40B4-BE49-F238E27FC236}">
                <a16:creationId xmlns:a16="http://schemas.microsoft.com/office/drawing/2014/main" id="{71AAA3DE-1E6A-F864-998A-64EBE6F1A98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A3E1DC7-A6B9-2903-204F-550B70E2E81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BCA86AB-A557-AB42-98E9-D25FB752D48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D894006-7918-F869-2AF8-26A0B51A088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7A75202-6814-A615-B379-AF96EC77CEE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C7CDECF-B5DD-918F-A7A9-C519BE3AC04F}"/>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1D85E4C0-A6CF-9373-635A-0DE319A603EE}"/>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a:extLst>
              <a:ext uri="{FF2B5EF4-FFF2-40B4-BE49-F238E27FC236}">
                <a16:creationId xmlns:a16="http://schemas.microsoft.com/office/drawing/2014/main" id="{AB1196CD-B324-2995-418A-685AF32B9C56}"/>
              </a:ext>
            </a:extLst>
          </p:cNvPr>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E7F6D76A-AF59-65BC-C476-D62456858ABD}"/>
              </a:ext>
            </a:extLst>
          </p:cNvPr>
          <p:cNvSpPr/>
          <p:nvPr/>
        </p:nvSpPr>
        <p:spPr>
          <a:xfrm>
            <a:off x="131112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45791738-2A09-8CC8-214E-DB1CBAC2D380}"/>
              </a:ext>
            </a:extLst>
          </p:cNvPr>
          <p:cNvSpPr/>
          <p:nvPr/>
        </p:nvSpPr>
        <p:spPr>
          <a:xfrm>
            <a:off x="1932840" y="1458000"/>
            <a:ext cx="904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037E8F4F-2738-B073-5FEC-09651B53560B}"/>
              </a:ext>
            </a:extLst>
          </p:cNvPr>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80FD4440-A87F-D7E4-9A51-B09C79683E48}"/>
              </a:ext>
            </a:extLst>
          </p:cNvPr>
          <p:cNvSpPr/>
          <p:nvPr/>
        </p:nvSpPr>
        <p:spPr>
          <a:xfrm>
            <a:off x="566316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08774478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D401E-7C33-23BB-6BA8-EADB74A6CDC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7C5739E-1BCE-106F-8C21-778D0657A817}"/>
              </a:ext>
            </a:extLst>
          </p:cNvPr>
          <p:cNvGraphicFramePr>
            <a:graphicFrameLocks noGrp="1"/>
          </p:cNvGraphicFramePr>
          <p:nvPr/>
        </p:nvGraphicFramePr>
        <p:xfrm>
          <a:off x="535405" y="1133206"/>
          <a:ext cx="3996001" cy="371578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C9F5F36-192A-27F3-8D71-E681A4D2CE3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CC3FB0B-72D4-A313-1760-4DE891CCE5C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C1B2AEB-F119-F906-1E03-1459C2F9B7A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A31FC8ED-5CF2-6F39-4904-DA390883E75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tick FPS50+ 40g (0.0%) | Up &amp; Down Pricing | Walmart | Assumes no other are changing prices</a:t>
            </a:r>
          </a:p>
        </p:txBody>
      </p:sp>
      <p:sp>
        <p:nvSpPr>
          <p:cNvPr id="4" name="Title1">
            <a:extLst>
              <a:ext uri="{FF2B5EF4-FFF2-40B4-BE49-F238E27FC236}">
                <a16:creationId xmlns:a16="http://schemas.microsoft.com/office/drawing/2014/main" id="{D005AD33-7D4A-6663-3708-680C432BA90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CBCFACE-1D68-B595-6754-0621A315AA9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0D74051-154F-91FC-F1BD-32A76838665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C782DFD-53DB-5DC1-1D4E-D64EFCF3AF0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CF6DA1A-714F-9125-F577-07E93584A0E1}"/>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EACC38E1-0929-8B73-CF93-E4C37DD0C2F2}"/>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20208149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B5718-1F17-EB70-B90A-08B94F30D7A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5D0B594-1222-3257-27BA-835AF1BF74C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8B56F3A-47F7-DF75-585B-B03E9123E19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39E0A38A-6802-C546-E456-3B178D60556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Aerosol FPS50+ 200ml | Walmart | Assuming no other products are changing prices</a:t>
            </a:r>
          </a:p>
        </p:txBody>
      </p:sp>
      <p:sp>
        <p:nvSpPr>
          <p:cNvPr id="10" name="Title 9">
            <a:extLst>
              <a:ext uri="{FF2B5EF4-FFF2-40B4-BE49-F238E27FC236}">
                <a16:creationId xmlns:a16="http://schemas.microsoft.com/office/drawing/2014/main" id="{AFC6AFFE-5D7D-66BF-EA64-7558AFED5A5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2D92998-8CB3-44CF-598B-5707AF0FBBE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442AB7F-715E-1B15-8A2F-1B940A89367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AD19D9A-1D09-6C8C-EED7-FFBE82C9A67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3279D2C-419B-84A2-B8F1-8C1A6F039C5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CF528C3-C689-1305-BDF5-6F37676332A6}"/>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576C597C-32EE-6E8E-C800-BB9B6D29EF67}"/>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a:extLst>
              <a:ext uri="{FF2B5EF4-FFF2-40B4-BE49-F238E27FC236}">
                <a16:creationId xmlns:a16="http://schemas.microsoft.com/office/drawing/2014/main" id="{18FE107F-FB5E-0C8E-5F9D-2BB3C446FC16}"/>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FCC9E59-91E9-486D-2534-E79B44D79D11}"/>
              </a:ext>
            </a:extLst>
          </p:cNvPr>
          <p:cNvSpPr/>
          <p:nvPr/>
        </p:nvSpPr>
        <p:spPr>
          <a:xfrm>
            <a:off x="119808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F792170E-4F82-60DB-2863-D38421E4E3B4}"/>
              </a:ext>
            </a:extLst>
          </p:cNvPr>
          <p:cNvSpPr/>
          <p:nvPr/>
        </p:nvSpPr>
        <p:spPr>
          <a:xfrm>
            <a:off x="1650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41F987B7-CBC9-2713-C957-028C1775B160}"/>
              </a:ext>
            </a:extLst>
          </p:cNvPr>
          <p:cNvSpPr/>
          <p:nvPr/>
        </p:nvSpPr>
        <p:spPr>
          <a:xfrm>
            <a:off x="215892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1355EB66-2DA3-1049-BF71-D4068A88D028}"/>
              </a:ext>
            </a:extLst>
          </p:cNvPr>
          <p:cNvSpPr/>
          <p:nvPr/>
        </p:nvSpPr>
        <p:spPr>
          <a:xfrm>
            <a:off x="357192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25F17516-57B2-A90B-7A84-BE94C79BD602}"/>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6509680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DC638-DBD8-1F45-E299-5859870AC8E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89AEA0E-FA6A-004E-4DD3-813C5BCF885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86D1532-F0C4-D680-639B-57E9E5066A5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73D38C8-06F2-3DCC-752D-9F1AD3BFB45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88393F7-D833-846C-4899-24F5C243645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688697A4-078D-EBC9-A76A-48F02742B89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Aerosol FPS50+ 200ml (0.0%) | Up &amp; Down Pricing | Walmart | Assumes no other are changing prices</a:t>
            </a:r>
          </a:p>
        </p:txBody>
      </p:sp>
      <p:sp>
        <p:nvSpPr>
          <p:cNvPr id="4" name="Title1">
            <a:extLst>
              <a:ext uri="{FF2B5EF4-FFF2-40B4-BE49-F238E27FC236}">
                <a16:creationId xmlns:a16="http://schemas.microsoft.com/office/drawing/2014/main" id="{703853D7-5407-6089-7DE5-9F4817A81EA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FE4AF2A-CDA8-D7F5-EAE8-3782298AB30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7B5C262-1274-83C9-1D33-E2D0CDAB639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DAC00BF-43FC-675B-D908-72C458ACB34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0AC8936-F5E2-7A9F-7751-0ED3697ABBC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55977513-00EC-A88C-CDCC-234C3D52A7D4}"/>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166198122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E1F88B-0E85-A87F-B22F-20D784DA06D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6B68036-456A-BFB5-C840-01C6E39B569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6AF013AD-D367-1834-30B3-1CB7242D051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520D9B34-ED7B-ACF5-FC61-D2142130311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Sport Lotion FPS50+ 354ml | Walmart | Assuming no other products are changing prices</a:t>
            </a:r>
          </a:p>
        </p:txBody>
      </p:sp>
      <p:sp>
        <p:nvSpPr>
          <p:cNvPr id="10" name="Title 9">
            <a:extLst>
              <a:ext uri="{FF2B5EF4-FFF2-40B4-BE49-F238E27FC236}">
                <a16:creationId xmlns:a16="http://schemas.microsoft.com/office/drawing/2014/main" id="{00CC7A00-32C0-6DDC-BD4F-42889E45CE7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9E0E251-7313-99E0-B6E4-53F997480AE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DFE274A-31CD-0848-BDA6-379AF00953C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C34F5A1-35E9-98D0-D847-42971282176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176BDE4-D748-ADC7-B4CB-1EFCF7F8B4F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CFAC16E-0883-3365-F2EC-311DA329DD1E}"/>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85B1B20C-6F86-8F85-4E8D-B056CCEA8F5F}"/>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a:extLst>
              <a:ext uri="{FF2B5EF4-FFF2-40B4-BE49-F238E27FC236}">
                <a16:creationId xmlns:a16="http://schemas.microsoft.com/office/drawing/2014/main" id="{CD4FA80A-ABD1-2958-5AC6-59E7CBA3539A}"/>
              </a:ext>
            </a:extLst>
          </p:cNvPr>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40397E61-2B4D-D04D-7CA0-2A95C51F057F}"/>
              </a:ext>
            </a:extLst>
          </p:cNvPr>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22CB8CE9-478B-79A1-44A5-E9E13C8458C3}"/>
              </a:ext>
            </a:extLst>
          </p:cNvPr>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7323C99D-E8A6-A412-DF96-AE1581D6EA46}"/>
              </a:ext>
            </a:extLst>
          </p:cNvPr>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CD6F7A4C-CA47-4AEB-9615-95FFDA4DBE76}"/>
              </a:ext>
            </a:extLst>
          </p:cNvPr>
          <p:cNvSpPr/>
          <p:nvPr/>
        </p:nvSpPr>
        <p:spPr>
          <a:xfrm>
            <a:off x="368496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A0709BD2-5E3B-7CA2-2260-E2979A445B4A}"/>
              </a:ext>
            </a:extLst>
          </p:cNvPr>
          <p:cNvSpPr/>
          <p:nvPr/>
        </p:nvSpPr>
        <p:spPr>
          <a:xfrm>
            <a:off x="41371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8C03F307-4F33-0F9F-1CC7-96B80A23C6EA}"/>
              </a:ext>
            </a:extLst>
          </p:cNvPr>
          <p:cNvSpPr/>
          <p:nvPr/>
        </p:nvSpPr>
        <p:spPr>
          <a:xfrm>
            <a:off x="4419720" y="1458000"/>
            <a:ext cx="2204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27011727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5BC0C0-872B-A689-8216-1BC7A9390AA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1969D42-CDC3-CB36-2C0D-21156BE17F3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A1ECA13-28C9-91FB-80FC-2A5A5E7F899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714CF1D-776A-3CC9-E47D-255BB921508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0A88BA1-0C7E-8A92-EA16-EDF5AA2AA6A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9F2F685-E354-8685-9DCA-A1FC9218C35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Sport Lotion FPS50+ 354ml (0.0%) | Up &amp; Down Pricing | Walmart | Assumes no other are changing prices</a:t>
            </a:r>
          </a:p>
        </p:txBody>
      </p:sp>
      <p:sp>
        <p:nvSpPr>
          <p:cNvPr id="4" name="Title1">
            <a:extLst>
              <a:ext uri="{FF2B5EF4-FFF2-40B4-BE49-F238E27FC236}">
                <a16:creationId xmlns:a16="http://schemas.microsoft.com/office/drawing/2014/main" id="{8B138D14-1F15-1870-09CB-9BA61104283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AF03D75-5453-A4EE-8DB8-BE681A7B2C8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D256397-CA79-C206-18FE-4698EE379F5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4AF6674-DDAA-E92D-2A97-75A3F8B20F4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524917A-2465-5B8D-D81B-DE2EDBA3D4DB}"/>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F03E8A8C-1506-8F6B-0425-E9A35974A1A6}"/>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50999596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A68F8-C226-1C77-3F1E-1BDECA1D1B1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33FFDD9-3A21-DE44-A83E-35FD0DEEA9E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E8EDC46-1E5A-176A-9B7F-C4D8BF9C252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082786A0-1CD3-6231-8B1A-849D84A23E56}"/>
              </a:ext>
            </a:extLst>
          </p:cNvPr>
          <p:cNvSpPr>
            <a:spLocks noGrp="1"/>
          </p:cNvSpPr>
          <p:nvPr>
            <p:ph type="body" sz="quarter" idx="18"/>
          </p:nvPr>
        </p:nvSpPr>
        <p:spPr>
          <a:xfrm>
            <a:off x="503238" y="774000"/>
            <a:ext cx="8136762" cy="360000"/>
          </a:xfrm>
        </p:spPr>
        <p:txBody>
          <a:bodyPr/>
          <a:lstStyle/>
          <a:p>
            <a:pPr>
              <a:defRPr sz="1200">
                <a:latin typeface="Nexa Bold (Headings)"/>
              </a:defRPr>
            </a:pPr>
            <a:r>
              <a:t>BB Mineral | Price Elasticity | Walmart | Assumes no other products are changing prices</a:t>
            </a:r>
          </a:p>
        </p:txBody>
      </p:sp>
      <p:sp>
        <p:nvSpPr>
          <p:cNvPr id="18" name="Title 17">
            <a:extLst>
              <a:ext uri="{FF2B5EF4-FFF2-40B4-BE49-F238E27FC236}">
                <a16:creationId xmlns:a16="http://schemas.microsoft.com/office/drawing/2014/main" id="{002D31E9-39EC-48DB-477B-E6DBB460C9A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D86A3D02-DC34-AED8-1E72-48809B0BF360}"/>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Mineral Sensitiv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Mineral Kids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72D56ADE-014B-BC32-E47B-A30BC0828C9F}"/>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D5C1C07-1622-32BF-3AF7-CCD2770925C6}"/>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24C1B653-9503-8098-9B6A-09DBFA8AFBDC}"/>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3" name="TextBox Y">
            <a:extLst>
              <a:ext uri="{FF2B5EF4-FFF2-40B4-BE49-F238E27FC236}">
                <a16:creationId xmlns:a16="http://schemas.microsoft.com/office/drawing/2014/main" id="{7C3EB394-3320-4502-9F01-4F11F7696FE6}"/>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5496144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E6A42-8927-80FB-8433-20935FFB442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95C09DA-88FE-81C7-9ADD-A2BB602F4EC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960F60A-8062-C285-9968-1488B38F5E0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8C44870-AEAD-6DE2-6EAB-D60D3584818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Sensitive Lotion FPS50 180ml | Walmart | Assuming no other products are changing prices</a:t>
            </a:r>
          </a:p>
        </p:txBody>
      </p:sp>
      <p:sp>
        <p:nvSpPr>
          <p:cNvPr id="10" name="Title 9">
            <a:extLst>
              <a:ext uri="{FF2B5EF4-FFF2-40B4-BE49-F238E27FC236}">
                <a16:creationId xmlns:a16="http://schemas.microsoft.com/office/drawing/2014/main" id="{6DB0E34D-D1CE-917D-D594-E3DFE5D5FC6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8460C04-58B9-3A6D-1DF4-501B61D624B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418483E-745B-E1EB-C619-A8D928926B9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DD05ED0-78FA-F793-0EF0-0AA87F66BB5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93FE312-60EE-DC8C-04DC-2B5B4B4360E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35096B3-78BA-A704-29A5-6012FE8B893F}"/>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19952957-65E9-AAC7-8151-8317B1C50FEC}"/>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a:extLst>
              <a:ext uri="{FF2B5EF4-FFF2-40B4-BE49-F238E27FC236}">
                <a16:creationId xmlns:a16="http://schemas.microsoft.com/office/drawing/2014/main" id="{B63BF604-8E51-A840-F43A-1A8CCEC0ADAB}"/>
              </a:ext>
            </a:extLst>
          </p:cNvPr>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8234705-532C-D3AF-760B-4D6182AD2833}"/>
              </a:ext>
            </a:extLst>
          </p:cNvPr>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647E7F09-5424-3F2F-23BC-960DD5BE6086}"/>
              </a:ext>
            </a:extLst>
          </p:cNvPr>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DC9C63C6-E193-240E-8E72-874F41A11771}"/>
              </a:ext>
            </a:extLst>
          </p:cNvPr>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A43A0D77-E736-A986-2EF5-E1D817DBA34C}"/>
              </a:ext>
            </a:extLst>
          </p:cNvPr>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6839071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18C94-7C69-D349-EBA4-478D51386BB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FEBFB9E-7496-8D34-1187-96E5964A853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45EEFCD-11D2-453F-73E0-29368829B18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1737CEA-B54F-74D8-57D1-4146240E9A8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2AAF2C3-225C-0EA0-34B0-7ADC8DBD29D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56FC4087-065C-F737-4E26-5887CE8A1FB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Sensitive Lotion FPS50 180ml (0.4%) | Up &amp; Down Pricing | Walmart | Assumes no other are changing prices</a:t>
            </a:r>
          </a:p>
        </p:txBody>
      </p:sp>
      <p:sp>
        <p:nvSpPr>
          <p:cNvPr id="4" name="Title1">
            <a:extLst>
              <a:ext uri="{FF2B5EF4-FFF2-40B4-BE49-F238E27FC236}">
                <a16:creationId xmlns:a16="http://schemas.microsoft.com/office/drawing/2014/main" id="{13F08F0D-C86E-7E2D-B0FE-730D0CA1AF0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D59F4EA-1CC8-081D-B50C-1C90E419649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FE4C4A5-98CA-FA04-B3B3-C550FE2DDA7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6F5694D-7932-0614-767B-1665CE2E8C6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04F9492-44FE-F3CA-95FE-AC585FEB7D42}"/>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699F253-6C91-09F5-3A02-FDB5D0DA72E7}"/>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562086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4E777-4BB0-D6FF-C43D-F71C6E516E8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EBC84C1-6EFB-7B5C-F6F3-B63EEBCA3FA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A9C1F51-1422-32F1-FE29-F1809FC2F13F}"/>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DF2FAD6-37C8-F6C3-7809-4F6D7D62461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954271E-EFDC-36C7-5127-711C82FC262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4F48838-CBF3-35B6-74E3-96E81DF237C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Isdin (1.8%) | Up &amp; Down Pricing | Walmart | Assumes no other are changing prices</a:t>
            </a:r>
          </a:p>
        </p:txBody>
      </p:sp>
      <p:sp>
        <p:nvSpPr>
          <p:cNvPr id="4" name="Title1">
            <a:extLst>
              <a:ext uri="{FF2B5EF4-FFF2-40B4-BE49-F238E27FC236}">
                <a16:creationId xmlns:a16="http://schemas.microsoft.com/office/drawing/2014/main" id="{208289E5-BBA3-3A39-0FBB-A08D072DF39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637D645-8734-4A6A-2D5A-021C22BFB6B9}"/>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E08959A-0D2F-8FC7-13A9-08C3B8740A1A}"/>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C279D531-0957-62C1-AD5C-7AE49C1C5905}"/>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D7B42B4F-2017-E550-24AD-F27DBCDD5FD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37391255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361FA-4039-1680-5666-E0AB95896AB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205F2AD-7749-C34E-B5C5-F02D3656A1C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D0E5D5B-925A-4D9A-1930-2799C983598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7CDEBBE1-06EB-0C1A-D828-047B54352DA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Kids Lotion FPS50 180ml | Walmart | Assuming no other products are changing prices</a:t>
            </a:r>
          </a:p>
        </p:txBody>
      </p:sp>
      <p:sp>
        <p:nvSpPr>
          <p:cNvPr id="10" name="Title 9">
            <a:extLst>
              <a:ext uri="{FF2B5EF4-FFF2-40B4-BE49-F238E27FC236}">
                <a16:creationId xmlns:a16="http://schemas.microsoft.com/office/drawing/2014/main" id="{E50A4A9D-2116-25B6-FCC7-1ACC66899BE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79A8CDD-63DD-5D46-2F85-5869C437BF7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01213B1-D426-1A13-20B8-37A59781600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EEFB743-D0F9-1F59-DF01-A6D292816A2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6D338C0-6F52-A0B4-3293-7C69E44D107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1ED8CBB-3513-C13B-7831-87952872F5EC}"/>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75AA7586-91A3-15CA-7470-32B47E3E7705}"/>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22" name="Rectangle 21">
            <a:extLst>
              <a:ext uri="{FF2B5EF4-FFF2-40B4-BE49-F238E27FC236}">
                <a16:creationId xmlns:a16="http://schemas.microsoft.com/office/drawing/2014/main" id="{F978B2A1-0E19-8C4A-C213-5A28AB1FB93F}"/>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568715C-7AC4-556F-93BC-71636F48D253}"/>
              </a:ext>
            </a:extLst>
          </p:cNvPr>
          <p:cNvSpPr/>
          <p:nvPr/>
        </p:nvSpPr>
        <p:spPr>
          <a:xfrm>
            <a:off x="14241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E6D27127-5685-2F01-8DE2-911508D4A026}"/>
              </a:ext>
            </a:extLst>
          </p:cNvPr>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C232E3E3-EB96-1ED9-33CF-35BD99961B26}"/>
              </a:ext>
            </a:extLst>
          </p:cNvPr>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106B2B16-3FC8-C245-B9EE-6991CF659FF1}"/>
              </a:ext>
            </a:extLst>
          </p:cNvPr>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8398801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994672-AF66-097F-B373-D3281866207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9F4FBA-83CF-F8A6-F0DC-F97D0770344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27F6B39-C1C0-696B-A780-DA5EE23895C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E8DE717-3DF7-83E8-AF19-4AEC995F189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13CEC9B-550B-248B-E183-CF997734841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A2D38C1-772C-C4AC-C5A3-9966F4F53E7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Kids Lotion FPS50 180ml (0.3%) | Up &amp; Down Pricing | Walmart | Assumes no other are changing prices</a:t>
            </a:r>
          </a:p>
        </p:txBody>
      </p:sp>
      <p:sp>
        <p:nvSpPr>
          <p:cNvPr id="4" name="Title1">
            <a:extLst>
              <a:ext uri="{FF2B5EF4-FFF2-40B4-BE49-F238E27FC236}">
                <a16:creationId xmlns:a16="http://schemas.microsoft.com/office/drawing/2014/main" id="{83971AF9-39DB-2413-09C7-F0985486461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35B2453-9921-2069-14B5-98269BCE971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D88CFAD-D793-11E3-CDD8-4B1627B8AEE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DD3148C-4A53-BA15-AF13-F94702995F6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49D1791-1CBA-2F63-080C-6E1A76D5FFA4}"/>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B9C6E35F-50C9-BF95-6E41-8DA2BF466F7C}"/>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15558751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D1F22-A9A1-D358-2BE9-96BFEE23B0D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7F15359-6A10-4479-2707-421595ECC6F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5BD065E-2DF5-4BE9-F09E-7D8B1D82BDB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9F9F09F0-A68E-2D10-3BE1-11562111A014}"/>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 Price Elasticity | Walmart | Assumes no other products are changing prices</a:t>
            </a:r>
          </a:p>
        </p:txBody>
      </p:sp>
      <p:sp>
        <p:nvSpPr>
          <p:cNvPr id="18" name="Title 17">
            <a:extLst>
              <a:ext uri="{FF2B5EF4-FFF2-40B4-BE49-F238E27FC236}">
                <a16:creationId xmlns:a16="http://schemas.microsoft.com/office/drawing/2014/main" id="{5B6FBB7E-4A9F-2B7C-359E-01525E103B7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683B02EA-E1AA-19CA-1FB6-D067A2F9C2E9}"/>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Kids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Kids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46B80276-0799-05D9-416D-DB3895BA595F}"/>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42535A0-05F2-B55C-3DF6-9CDA714D3A32}"/>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9D7D23EA-081F-2D79-1E64-5988891C7532}"/>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3" name="TextBox Y">
            <a:extLst>
              <a:ext uri="{FF2B5EF4-FFF2-40B4-BE49-F238E27FC236}">
                <a16:creationId xmlns:a16="http://schemas.microsoft.com/office/drawing/2014/main" id="{2E795FEA-BE1F-8459-8F78-34815B6EE455}"/>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9846326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2B0B1-02C2-794F-CBAC-6B6A7D20C68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9C00628-F17A-DA2B-0DFF-AD8259BFD7B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8E6A0F8-2619-6C7F-C40C-9E6E71FAB4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D20FDE49-1AB9-8396-D613-426BE14342F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Lotion FPS50 180ml | Walmart | Assuming no other products are changing prices</a:t>
            </a:r>
          </a:p>
        </p:txBody>
      </p:sp>
      <p:sp>
        <p:nvSpPr>
          <p:cNvPr id="10" name="Title 9">
            <a:extLst>
              <a:ext uri="{FF2B5EF4-FFF2-40B4-BE49-F238E27FC236}">
                <a16:creationId xmlns:a16="http://schemas.microsoft.com/office/drawing/2014/main" id="{0042C97C-11C7-EF94-1F2C-9305108F871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E8CA0E0-BF82-8807-0A09-4F35050A05A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37729DD-829E-F60D-AAFF-40DF0CFF5AC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E94B903-601E-6FE3-4E56-D9D6771B989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8FA4BCA-14F5-86F0-E13E-874A6672BD1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DB01269-7EB3-B556-9983-5494CCD3B7BD}"/>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F4D09240-E201-3F8B-5DD2-33D413CE69D5}"/>
              </a:ext>
            </a:extLst>
          </p:cNvPr>
          <p:cNvSpPr>
            <a:spLocks noGrp="1"/>
          </p:cNvSpPr>
          <p:nvPr>
            <p:ph type="sldNum" sz="quarter" idx="16"/>
          </p:nvPr>
        </p:nvSpPr>
        <p:spPr/>
        <p:txBody>
          <a:bodyPr/>
          <a:lstStyle/>
          <a:p>
            <a:fld id="{7B1F438D-4EAF-094E-9162-80CF3EF77236}" type="slidenum">
              <a:rPr lang="en-US" smtClean="0"/>
              <a:pPr/>
              <a:t>133</a:t>
            </a:fld>
            <a:endParaRPr lang="en-US"/>
          </a:p>
        </p:txBody>
      </p:sp>
      <p:sp>
        <p:nvSpPr>
          <p:cNvPr id="22" name="Rectangle 21">
            <a:extLst>
              <a:ext uri="{FF2B5EF4-FFF2-40B4-BE49-F238E27FC236}">
                <a16:creationId xmlns:a16="http://schemas.microsoft.com/office/drawing/2014/main" id="{E4740950-A1BF-0274-4983-1D2BE9CBC882}"/>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A615E68D-7122-D353-F412-2A4EFF116737}"/>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E90A23A4-6F84-245F-4876-2B2B5170821F}"/>
              </a:ext>
            </a:extLst>
          </p:cNvPr>
          <p:cNvSpPr/>
          <p:nvPr/>
        </p:nvSpPr>
        <p:spPr>
          <a:xfrm>
            <a:off x="249804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F5AED7DB-AB42-7912-EF6E-892C0E9A586A}"/>
              </a:ext>
            </a:extLst>
          </p:cNvPr>
          <p:cNvSpPr/>
          <p:nvPr/>
        </p:nvSpPr>
        <p:spPr>
          <a:xfrm>
            <a:off x="30067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714D047B-5493-B5D3-462C-6555D73BC767}"/>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7922D67C-F7ED-AA1C-342C-FA3897E504C3}"/>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a:extLst>
              <a:ext uri="{FF2B5EF4-FFF2-40B4-BE49-F238E27FC236}">
                <a16:creationId xmlns:a16="http://schemas.microsoft.com/office/drawing/2014/main" id="{B74D1D9C-E4CB-2BFF-6210-6C23402FBF67}"/>
              </a:ext>
            </a:extLst>
          </p:cNvPr>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91756123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2FCC3-9EBB-6D16-81E9-27BA880B304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00DFB0E-62AF-630A-0342-692386585AD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B74330C-5632-6080-D672-15F55FC5854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6D0EB73-3E60-190D-E47E-A9EB74A3CBE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113661B-86EB-C733-FF5C-C5A2B98A39C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78C208B-E391-71A5-3154-58115FA3890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Lotion FPS50 180ml (0.6%) | Up &amp; Down Pricing | Walmart | Assumes no other are changing prices</a:t>
            </a:r>
          </a:p>
        </p:txBody>
      </p:sp>
      <p:sp>
        <p:nvSpPr>
          <p:cNvPr id="4" name="Title1">
            <a:extLst>
              <a:ext uri="{FF2B5EF4-FFF2-40B4-BE49-F238E27FC236}">
                <a16:creationId xmlns:a16="http://schemas.microsoft.com/office/drawing/2014/main" id="{4CC82706-4877-D83B-776E-3B7533F36A6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136B9B3-F652-B523-6FD9-9BAA8D37A7C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619DF59-D7CD-417F-6051-885B3B581F5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B919EA3-8813-4609-26A8-D32979E130C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4027CF7-8E63-6381-AF95-02717008FE11}"/>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1F63C93D-77B2-0C03-A85B-600D21BF6A98}"/>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179244354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F6831-E756-FECA-CB07-377633D147D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E83EAD2-5424-A08B-A857-21916CA1139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3EC60A0-119B-C28A-143B-808AF6A498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E61B8F3-E81A-1430-D12B-60D70BA27C1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Roll-on FPS50+ 75ml | Walmart | Assuming no other products are changing prices</a:t>
            </a:r>
          </a:p>
        </p:txBody>
      </p:sp>
      <p:sp>
        <p:nvSpPr>
          <p:cNvPr id="10" name="Title 9">
            <a:extLst>
              <a:ext uri="{FF2B5EF4-FFF2-40B4-BE49-F238E27FC236}">
                <a16:creationId xmlns:a16="http://schemas.microsoft.com/office/drawing/2014/main" id="{F6A98527-62C1-09DB-1F4C-E3A6C410672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D374C1D-CEA7-494E-4052-F0DE49934BA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5E7637B-1736-5C5A-C4E1-BED5424D312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AA4DB71-E84C-C57F-D710-D91FCE34084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2865354-2535-1658-656C-B5CF050C0AD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3C98FEC-DBC7-9FDB-5866-1F737BF8EC1A}"/>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28F38557-3DF3-EF39-1402-0F360D69779C}"/>
              </a:ext>
            </a:extLst>
          </p:cNvPr>
          <p:cNvSpPr>
            <a:spLocks noGrp="1"/>
          </p:cNvSpPr>
          <p:nvPr>
            <p:ph type="sldNum" sz="quarter" idx="16"/>
          </p:nvPr>
        </p:nvSpPr>
        <p:spPr/>
        <p:txBody>
          <a:bodyPr/>
          <a:lstStyle/>
          <a:p>
            <a:fld id="{7B1F438D-4EAF-094E-9162-80CF3EF77236}" type="slidenum">
              <a:rPr lang="en-US" smtClean="0"/>
              <a:pPr/>
              <a:t>135</a:t>
            </a:fld>
            <a:endParaRPr lang="en-US"/>
          </a:p>
        </p:txBody>
      </p:sp>
      <p:sp>
        <p:nvSpPr>
          <p:cNvPr id="22" name="Rectangle 21">
            <a:extLst>
              <a:ext uri="{FF2B5EF4-FFF2-40B4-BE49-F238E27FC236}">
                <a16:creationId xmlns:a16="http://schemas.microsoft.com/office/drawing/2014/main" id="{371054ED-5FC5-88B3-5382-16448C73851E}"/>
              </a:ext>
            </a:extLst>
          </p:cNvPr>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FE6A6A7F-3FFB-46D1-4CFA-A5A89E868D95}"/>
              </a:ext>
            </a:extLst>
          </p:cNvPr>
          <p:cNvSpPr/>
          <p:nvPr/>
        </p:nvSpPr>
        <p:spPr>
          <a:xfrm>
            <a:off x="255456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A8308F46-E99E-DA58-5712-9EB6A7C11061}"/>
              </a:ext>
            </a:extLst>
          </p:cNvPr>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69108008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002B5-57A7-2FF8-92BD-875EA2ACD5F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BDE0FFE-F74D-0B41-9DBC-D0C9B9524DB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FC777AC-A5D6-DF88-6C45-5A9A76C0AC7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033E8EC-DEB6-2F52-880F-CD6BD79AAF7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667D498-102D-070C-FA88-6FB07873A59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91EB34E-061C-4094-7EA6-AC18CE2C184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Roll-on FPS50+ 75ml (0.1%) | Up &amp; Down Pricing | Walmart | Assumes no other are changing prices</a:t>
            </a:r>
          </a:p>
        </p:txBody>
      </p:sp>
      <p:sp>
        <p:nvSpPr>
          <p:cNvPr id="4" name="Title1">
            <a:extLst>
              <a:ext uri="{FF2B5EF4-FFF2-40B4-BE49-F238E27FC236}">
                <a16:creationId xmlns:a16="http://schemas.microsoft.com/office/drawing/2014/main" id="{1EDEED79-39C9-D7FC-B9E6-50C4273BC82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1829FF9-8C02-DEC8-FA81-A58261B5271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0D544D1-8B9B-376A-DD92-C1DCFB99851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8F8C6F7-2DB3-CE76-17CB-E3DDEF9D234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CE50189-750A-BE18-D05C-C5C8B8877204}"/>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3BDEA7DB-C734-1A4D-E58F-657246BAE11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10476924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4BD13-E510-CB3C-E05B-D8526003BA0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CD9FEB7-A058-83BF-A36E-09F9EF4B171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CCDF996-FC63-0630-188A-EC1583FA973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D1F47D81-2FDF-E500-F79A-D08232C648F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170g | Walmart | Assuming no other products are changing prices</a:t>
            </a:r>
          </a:p>
        </p:txBody>
      </p:sp>
      <p:sp>
        <p:nvSpPr>
          <p:cNvPr id="10" name="Title 9">
            <a:extLst>
              <a:ext uri="{FF2B5EF4-FFF2-40B4-BE49-F238E27FC236}">
                <a16:creationId xmlns:a16="http://schemas.microsoft.com/office/drawing/2014/main" id="{F0E8C39D-5743-BA33-3EE0-B3416B583A9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15D7415-1B03-63D7-8895-00565CDD913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03E0679-CD49-3EA5-499C-5568300B3F5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A7A4FDE-D851-1674-8BFE-BDAB5BCA032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FC175DA-885F-A584-C664-4EE57197A83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B4A30D8-F3CD-7E17-82B1-833C0434ED34}"/>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87F5DE7C-3297-116B-DC66-5B4022657819}"/>
              </a:ext>
            </a:extLst>
          </p:cNvPr>
          <p:cNvSpPr>
            <a:spLocks noGrp="1"/>
          </p:cNvSpPr>
          <p:nvPr>
            <p:ph type="sldNum" sz="quarter" idx="16"/>
          </p:nvPr>
        </p:nvSpPr>
        <p:spPr/>
        <p:txBody>
          <a:bodyPr/>
          <a:lstStyle/>
          <a:p>
            <a:fld id="{7B1F438D-4EAF-094E-9162-80CF3EF77236}" type="slidenum">
              <a:rPr lang="en-US" smtClean="0"/>
              <a:pPr/>
              <a:t>137</a:t>
            </a:fld>
            <a:endParaRPr lang="en-US"/>
          </a:p>
        </p:txBody>
      </p:sp>
      <p:sp>
        <p:nvSpPr>
          <p:cNvPr id="22" name="Rectangle 21">
            <a:extLst>
              <a:ext uri="{FF2B5EF4-FFF2-40B4-BE49-F238E27FC236}">
                <a16:creationId xmlns:a16="http://schemas.microsoft.com/office/drawing/2014/main" id="{D881D01D-4088-A6D7-411D-06B33D6B88BA}"/>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75886353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2F609B-9486-D539-DE10-586DF5FE03E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FAE37F1-B151-C99C-2ACE-D9C0227983B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A5448A1-38C5-A4AC-29C3-71BD31BF0E2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893472C-CAAD-C7E5-C53F-9058DDA186E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5E56E2D-40D6-6096-F626-92341D97F02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4AF5F825-CC97-B603-544A-8B56183D627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170g (0.4%) | Up &amp; Down Pricing | Walmart | Assumes no other are changing prices</a:t>
            </a:r>
          </a:p>
        </p:txBody>
      </p:sp>
      <p:sp>
        <p:nvSpPr>
          <p:cNvPr id="4" name="Title1">
            <a:extLst>
              <a:ext uri="{FF2B5EF4-FFF2-40B4-BE49-F238E27FC236}">
                <a16:creationId xmlns:a16="http://schemas.microsoft.com/office/drawing/2014/main" id="{E09154DD-346E-AA8A-1FA9-EF1C2C37527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8DCC970-FDAA-697E-E66D-FF2E8FBBF6B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54F82CA-0562-36C1-A1AE-6223A86B596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19DF906-E62B-F4C9-3C87-274821CC12D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A9EC794-BB61-6BA8-41CD-E1B20BE9F440}"/>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CE846287-3BEA-8B1F-9417-916F08402E46}"/>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57495933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D4910-AC07-1D72-E859-FD9337EEC89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632FFB0-1B25-BE26-D020-08B978DCDEEB}"/>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E7D3D6E-28C0-8533-9549-05551F9E86B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441FF6AA-6CF0-8D6C-17FA-AF6B1EFA7990}"/>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Innovation | Price Elasticity | Walmart | Assumes no other products are changing prices</a:t>
            </a:r>
          </a:p>
        </p:txBody>
      </p:sp>
      <p:sp>
        <p:nvSpPr>
          <p:cNvPr id="18" name="Title 17">
            <a:extLst>
              <a:ext uri="{FF2B5EF4-FFF2-40B4-BE49-F238E27FC236}">
                <a16:creationId xmlns:a16="http://schemas.microsoft.com/office/drawing/2014/main" id="{64BDCED4-9745-7F0E-1F94-B817E31DEF44}"/>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27D28A3-9EB7-F840-64DD-D7D111EF1146}"/>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43621EB7-8543-BABA-8936-4C4FA4DB067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0F9C8E2-4F7F-459F-EEAF-D29E515818D6}"/>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BE61590E-5871-6AA1-19B1-5021B2723B7F}"/>
              </a:ext>
            </a:extLst>
          </p:cNvPr>
          <p:cNvSpPr>
            <a:spLocks noGrp="1"/>
          </p:cNvSpPr>
          <p:nvPr>
            <p:ph type="sldNum" sz="quarter" idx="16"/>
          </p:nvPr>
        </p:nvSpPr>
        <p:spPr/>
        <p:txBody>
          <a:bodyPr/>
          <a:lstStyle/>
          <a:p>
            <a:fld id="{7B1F438D-4EAF-094E-9162-80CF3EF77236}" type="slidenum">
              <a:rPr lang="en-US" smtClean="0"/>
              <a:pPr/>
              <a:t>139</a:t>
            </a:fld>
            <a:endParaRPr lang="en-US"/>
          </a:p>
        </p:txBody>
      </p:sp>
      <p:sp>
        <p:nvSpPr>
          <p:cNvPr id="3" name="TextBox Y">
            <a:extLst>
              <a:ext uri="{FF2B5EF4-FFF2-40B4-BE49-F238E27FC236}">
                <a16:creationId xmlns:a16="http://schemas.microsoft.com/office/drawing/2014/main" id="{10FE5A7A-56E0-A641-138B-B994CF98A36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37943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53908-4CB3-057B-52D1-CF7098874D6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E23805E-E5F6-7410-D239-78A398C7EFE6}"/>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54E5F1C-F40C-7918-C2A0-F9B36FBECCEF}"/>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220DF59-0DFE-412D-FF3F-03DF348ED8F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D9D5173-0BCB-599D-669E-5A5FBBD6C98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F0B15C0A-01F6-4E1E-FA95-64AC20B4FD36}"/>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arnier (1.7%) | Up &amp; Down Pricing | Walmart | Assumes no other are changing prices</a:t>
            </a:r>
          </a:p>
        </p:txBody>
      </p:sp>
      <p:sp>
        <p:nvSpPr>
          <p:cNvPr id="4" name="Title1">
            <a:extLst>
              <a:ext uri="{FF2B5EF4-FFF2-40B4-BE49-F238E27FC236}">
                <a16:creationId xmlns:a16="http://schemas.microsoft.com/office/drawing/2014/main" id="{25ACBE0B-A99C-F485-036F-FB0B14305E3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570F99A-C109-DD01-2073-4C1606A030F7}"/>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3ABC489-E2CB-6E4F-F6B0-0382FDFAEB2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24096014-8389-DD4E-C2D3-7B4C7E09BA59}"/>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AA256327-6B41-2A23-04F5-1CA3DA56BD88}"/>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324900343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9F0D5-AA4A-DDFA-DAEB-3F9B7BC8D30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6ACA008-A03A-7242-920D-7F8BE0A4807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1923638-4C4E-06AD-E0FA-79CDFDEDBB3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BA2BD16-04C7-7E6C-ECB3-9DE5879B1A0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240ml | Walmart | Assuming no other products are changing prices</a:t>
            </a:r>
          </a:p>
        </p:txBody>
      </p:sp>
      <p:sp>
        <p:nvSpPr>
          <p:cNvPr id="10" name="Title 9">
            <a:extLst>
              <a:ext uri="{FF2B5EF4-FFF2-40B4-BE49-F238E27FC236}">
                <a16:creationId xmlns:a16="http://schemas.microsoft.com/office/drawing/2014/main" id="{4E735E88-16F5-12F0-4971-A64DE6E3AF6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A0210BD-970E-71CF-CED6-E635BF768EC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DDB7AB6-38D2-A380-8AB2-3961A5E5F9D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7C62773-98BD-862F-802C-DCAF0369373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34B2889-0019-436B-60F9-93A819DD498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D4FD2E6-B291-9A57-2384-DD4310B6E1AB}"/>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8A021755-15EB-8950-F04A-E7C675832416}"/>
              </a:ext>
            </a:extLst>
          </p:cNvPr>
          <p:cNvSpPr>
            <a:spLocks noGrp="1"/>
          </p:cNvSpPr>
          <p:nvPr>
            <p:ph type="sldNum" sz="quarter" idx="16"/>
          </p:nvPr>
        </p:nvSpPr>
        <p:spPr/>
        <p:txBody>
          <a:bodyPr/>
          <a:lstStyle/>
          <a:p>
            <a:fld id="{7B1F438D-4EAF-094E-9162-80CF3EF77236}" type="slidenum">
              <a:rPr lang="en-US" smtClean="0"/>
              <a:pPr/>
              <a:t>140</a:t>
            </a:fld>
            <a:endParaRPr lang="en-US"/>
          </a:p>
        </p:txBody>
      </p:sp>
      <p:sp>
        <p:nvSpPr>
          <p:cNvPr id="22" name="Rectangle 21">
            <a:extLst>
              <a:ext uri="{FF2B5EF4-FFF2-40B4-BE49-F238E27FC236}">
                <a16:creationId xmlns:a16="http://schemas.microsoft.com/office/drawing/2014/main" id="{50310AB9-4948-F5C3-F168-8F3308AEE7A6}"/>
              </a:ext>
            </a:extLst>
          </p:cNvPr>
          <p:cNvSpPr/>
          <p:nvPr/>
        </p:nvSpPr>
        <p:spPr>
          <a:xfrm>
            <a:off x="97200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29B9F6FC-F784-8B71-ADCD-F64127F430B4}"/>
              </a:ext>
            </a:extLst>
          </p:cNvPr>
          <p:cNvSpPr/>
          <p:nvPr/>
        </p:nvSpPr>
        <p:spPr>
          <a:xfrm>
            <a:off x="119808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0D7BBF7A-AAFB-789E-78EE-37A36C0ECD94}"/>
              </a:ext>
            </a:extLst>
          </p:cNvPr>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2F0CAF6D-BDFC-404D-9ED3-202555FEB26F}"/>
              </a:ext>
            </a:extLst>
          </p:cNvPr>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F6D19DDB-E939-F386-5043-2DB45E301433}"/>
              </a:ext>
            </a:extLst>
          </p:cNvPr>
          <p:cNvSpPr/>
          <p:nvPr/>
        </p:nvSpPr>
        <p:spPr>
          <a:xfrm>
            <a:off x="4476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EBEFE11E-E3B4-0D41-2AC2-46422CEC2E85}"/>
              </a:ext>
            </a:extLst>
          </p:cNvPr>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78899943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34834-2A1E-3E1F-1254-6F3B2151B70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158E324-4D62-826A-B93A-7EE98093330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B0A4FB8-34A1-951D-6EC4-B7D74C31027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0DAB998-33A3-EEBA-267F-B2210E0EF51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090B295-F286-9173-1B1F-59FE3C8C657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D71D847E-0C7A-B7CE-3883-D758E3E09DB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240ml (0.0%) | Up &amp; Down Pricing | Walmart | Assumes no other are changing prices</a:t>
            </a:r>
          </a:p>
        </p:txBody>
      </p:sp>
      <p:sp>
        <p:nvSpPr>
          <p:cNvPr id="4" name="Title1">
            <a:extLst>
              <a:ext uri="{FF2B5EF4-FFF2-40B4-BE49-F238E27FC236}">
                <a16:creationId xmlns:a16="http://schemas.microsoft.com/office/drawing/2014/main" id="{E5B5EBDF-F422-8BD8-18E1-73AEF7559AE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A2A9401-7517-5786-D141-BBFEBF1F1E7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94DCB26-0FFE-48DA-3C3D-E6A3DA964A9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6497807-5251-0EED-C27D-A828B4B6F4B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21D98E8-9F86-609E-0A75-98B9531729ED}"/>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A3DEAA9-E035-8FF3-D014-30378D5F9CF9}"/>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359665472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06545-39B4-85E4-993A-5295E49D41C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3875C58-6BA2-9E4C-E55D-B1B823BEBD19}"/>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41559F6-A233-B088-4464-2A472AE6A65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CAFBDC71-F774-D251-213A-70A975BA4FD0}"/>
              </a:ext>
            </a:extLst>
          </p:cNvPr>
          <p:cNvSpPr>
            <a:spLocks noGrp="1"/>
          </p:cNvSpPr>
          <p:nvPr>
            <p:ph type="body" sz="quarter" idx="18"/>
          </p:nvPr>
        </p:nvSpPr>
        <p:spPr>
          <a:xfrm>
            <a:off x="503238" y="774000"/>
            <a:ext cx="8136762" cy="360000"/>
          </a:xfrm>
        </p:spPr>
        <p:txBody>
          <a:bodyPr/>
          <a:lstStyle/>
          <a:p>
            <a:pPr>
              <a:defRPr sz="1200">
                <a:latin typeface="Nexa Bold (Headings)"/>
              </a:defRPr>
            </a:pPr>
            <a:r>
              <a:t>BB Baby Innovation | Price Elasticity | Walmart | Assumes no other products are changing prices</a:t>
            </a:r>
          </a:p>
        </p:txBody>
      </p:sp>
      <p:sp>
        <p:nvSpPr>
          <p:cNvPr id="18" name="Title 17">
            <a:extLst>
              <a:ext uri="{FF2B5EF4-FFF2-40B4-BE49-F238E27FC236}">
                <a16:creationId xmlns:a16="http://schemas.microsoft.com/office/drawing/2014/main" id="{B57BBBEC-D630-A6F4-7446-B7570FFDBE1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C2C65362-6899-B519-FE06-26CB8E82DD44}"/>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Baby Lotion FPS50+ 177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CF9AB57-092B-3B57-1093-2B3B07156D5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DF5E493-18D4-6B45-E9C9-4FC28300DA42}"/>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E9BEB5B6-9A86-5518-865B-94F62E9BDDDF}"/>
              </a:ext>
            </a:extLst>
          </p:cNvPr>
          <p:cNvSpPr>
            <a:spLocks noGrp="1"/>
          </p:cNvSpPr>
          <p:nvPr>
            <p:ph type="sldNum" sz="quarter" idx="16"/>
          </p:nvPr>
        </p:nvSpPr>
        <p:spPr/>
        <p:txBody>
          <a:bodyPr/>
          <a:lstStyle/>
          <a:p>
            <a:fld id="{7B1F438D-4EAF-094E-9162-80CF3EF77236}" type="slidenum">
              <a:rPr lang="en-US" smtClean="0"/>
              <a:pPr/>
              <a:t>142</a:t>
            </a:fld>
            <a:endParaRPr lang="en-US"/>
          </a:p>
        </p:txBody>
      </p:sp>
      <p:sp>
        <p:nvSpPr>
          <p:cNvPr id="3" name="TextBox Y">
            <a:extLst>
              <a:ext uri="{FF2B5EF4-FFF2-40B4-BE49-F238E27FC236}">
                <a16:creationId xmlns:a16="http://schemas.microsoft.com/office/drawing/2014/main" id="{A0991DCA-3522-E636-88CF-C7319877F50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020826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95E21-B3F9-EE7C-652D-BEFA2B94AA8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47F3C35-C85A-9BAB-227A-4C3C05D7A25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CD1EA92-D22F-333D-B667-47A8F08B176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395E9124-89CF-B6C4-9391-8DA60C33101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Baby Lotion FPS50+ 177ml | Walmart | Assuming no other products are changing prices</a:t>
            </a:r>
          </a:p>
        </p:txBody>
      </p:sp>
      <p:sp>
        <p:nvSpPr>
          <p:cNvPr id="10" name="Title 9">
            <a:extLst>
              <a:ext uri="{FF2B5EF4-FFF2-40B4-BE49-F238E27FC236}">
                <a16:creationId xmlns:a16="http://schemas.microsoft.com/office/drawing/2014/main" id="{47C89807-6802-2B8D-517D-A42276DE237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237F100-C7CD-00FE-7BF0-058EE5385AB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BCEEDDE-C979-6D83-3EE8-80682766CD3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E8D42AC-2986-A6F6-C51B-2ADCAEC8EA6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99AD774-A2BE-318C-BA93-1BF2A9637D5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E9CAEA2-A814-76F6-8457-15958029738B}"/>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1A4CC36D-692E-4435-CF33-24605D7A8CE7}"/>
              </a:ext>
            </a:extLst>
          </p:cNvPr>
          <p:cNvSpPr>
            <a:spLocks noGrp="1"/>
          </p:cNvSpPr>
          <p:nvPr>
            <p:ph type="sldNum" sz="quarter" idx="16"/>
          </p:nvPr>
        </p:nvSpPr>
        <p:spPr/>
        <p:txBody>
          <a:bodyPr/>
          <a:lstStyle/>
          <a:p>
            <a:fld id="{7B1F438D-4EAF-094E-9162-80CF3EF77236}" type="slidenum">
              <a:rPr lang="en-US" smtClean="0"/>
              <a:pPr/>
              <a:t>143</a:t>
            </a:fld>
            <a:endParaRPr lang="en-US"/>
          </a:p>
        </p:txBody>
      </p:sp>
      <p:sp>
        <p:nvSpPr>
          <p:cNvPr id="22" name="Rectangle 21">
            <a:extLst>
              <a:ext uri="{FF2B5EF4-FFF2-40B4-BE49-F238E27FC236}">
                <a16:creationId xmlns:a16="http://schemas.microsoft.com/office/drawing/2014/main" id="{C53BCB58-B842-9259-0F92-42388BBEC9CC}"/>
              </a:ext>
            </a:extLst>
          </p:cNvPr>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05D3C911-309B-9691-F7D2-E17237A60F41}"/>
              </a:ext>
            </a:extLst>
          </p:cNvPr>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323C14B8-B805-C532-0502-99E598FF904E}"/>
              </a:ext>
            </a:extLst>
          </p:cNvPr>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54CEB8FB-E8D4-951F-8128-2E50684D5E66}"/>
              </a:ext>
            </a:extLst>
          </p:cNvPr>
          <p:cNvSpPr/>
          <p:nvPr/>
        </p:nvSpPr>
        <p:spPr>
          <a:xfrm>
            <a:off x="2950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26A6D4F4-651F-AAD6-A5F4-5D076378CB14}"/>
              </a:ext>
            </a:extLst>
          </p:cNvPr>
          <p:cNvSpPr/>
          <p:nvPr/>
        </p:nvSpPr>
        <p:spPr>
          <a:xfrm>
            <a:off x="3798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A6A1AE6A-8882-D926-FBDD-623D00EDE57E}"/>
              </a:ext>
            </a:extLst>
          </p:cNvPr>
          <p:cNvSpPr/>
          <p:nvPr/>
        </p:nvSpPr>
        <p:spPr>
          <a:xfrm>
            <a:off x="40806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a:extLst>
              <a:ext uri="{FF2B5EF4-FFF2-40B4-BE49-F238E27FC236}">
                <a16:creationId xmlns:a16="http://schemas.microsoft.com/office/drawing/2014/main" id="{44AF173A-BCDA-FFE1-541A-5734823EFD8C}"/>
              </a:ext>
            </a:extLst>
          </p:cNvPr>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96450821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BE6B5-5443-8723-E767-0481B5795A1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8468456-E386-E004-324C-7E5E356762A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0C1F9CC-3E28-8CD2-3E4F-1647F3A7EED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5E856E6-B8C8-4A07-1225-10ACFC6AB4F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D9E3617-81D3-C5FB-D5F5-B702881C94A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462B80C-D1BF-9352-17F7-EDD747823E1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Baby Lotion FPS50+ 177ml (0.0%) | Up &amp; Down Pricing | Walmart | Assumes no other are changing prices</a:t>
            </a:r>
          </a:p>
        </p:txBody>
      </p:sp>
      <p:sp>
        <p:nvSpPr>
          <p:cNvPr id="4" name="Title1">
            <a:extLst>
              <a:ext uri="{FF2B5EF4-FFF2-40B4-BE49-F238E27FC236}">
                <a16:creationId xmlns:a16="http://schemas.microsoft.com/office/drawing/2014/main" id="{924B91FF-B179-6C50-EEEC-5E8258F92E9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56EE3D2-3E5D-5A82-C4C4-8188ECABA50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5A86B6F-D808-C033-5B23-38C1E0FB405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E7EA594-DBA0-2063-A9C6-803A4ED3908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DBB8197-5E87-6DE9-6E7C-5673DBED7F7F}"/>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F2CE22A0-AF20-35EB-3538-6E7F708E4D1F}"/>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3401751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74C3F-189D-1684-04AE-FE7C49E28E0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B40EA9C-2E22-6564-4327-36C0A1CDF7F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6FB052B-9C17-2B99-D21B-FFAEC841F8A6}"/>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AFFCD16-126D-F735-53B7-F80CBB2E7F5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F4E1321-8070-2A27-4646-02F0B12B6B7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4BF29356-333D-5A11-3BC3-DCEF9CEA1830}"/>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real Paris (0.9%) | Up &amp; Down Pricing | Walmart | Assumes no other are changing prices</a:t>
            </a:r>
          </a:p>
        </p:txBody>
      </p:sp>
      <p:sp>
        <p:nvSpPr>
          <p:cNvPr id="4" name="Title1">
            <a:extLst>
              <a:ext uri="{FF2B5EF4-FFF2-40B4-BE49-F238E27FC236}">
                <a16:creationId xmlns:a16="http://schemas.microsoft.com/office/drawing/2014/main" id="{5ACC2B24-BA3E-BB84-2847-E8D684EEF8D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875ECFF-10F0-F97A-C742-3109292A4EA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7A2C425-4350-6082-E199-1990C0D6FB61}"/>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963A4E97-EBE6-5C27-95F2-CC39C4C24F0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D794E220-9D75-2C88-10BB-2EDFCE393945}"/>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41166243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74064-E256-60D9-5F65-2028D5A2C62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3CFF266-867E-6548-F868-67DE03A8A076}"/>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D509FF4-9806-ABB4-5D65-FCD587FD88A0}"/>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2C6AD2A-35FE-47C8-1445-137CDF047DB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078D5B0-E077-02F8-C667-52EFE12645C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941FE97-0BCD-96EF-A097-938E87F09BE5}"/>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vene (0.5%) | Up &amp; Down Pricing | Walmart | Assumes no other are changing prices</a:t>
            </a:r>
          </a:p>
        </p:txBody>
      </p:sp>
      <p:sp>
        <p:nvSpPr>
          <p:cNvPr id="4" name="Title1">
            <a:extLst>
              <a:ext uri="{FF2B5EF4-FFF2-40B4-BE49-F238E27FC236}">
                <a16:creationId xmlns:a16="http://schemas.microsoft.com/office/drawing/2014/main" id="{497CBA75-754C-F2E9-C8AC-8D888F380B1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3338240-5790-B498-B92D-BC4622C01431}"/>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E2CF8A7-F01A-BB84-CB9D-32BF3BADD786}"/>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1C63318-DEC1-803C-1EA9-7A6DFFE48F26}"/>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FFDFA858-8E6B-9C05-0331-F990E5DA4B0B}"/>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3337932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1E5E6-A079-9678-56FD-A77A7218B5E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41BF200-8E71-36A4-7F3C-79D74010B56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4E8E195-23D6-5737-E28F-5BB4E7C861D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78F76B6-BC81-32BD-9993-471CDA2CE90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F957424-077A-DF35-5293-24BED6F3CD2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F45E8FDC-5BF6-2322-CB1B-E116DAF5268F}"/>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uvel (2.3%) | Up &amp; Down Pricing | Walmart | Assumes no other are changing prices</a:t>
            </a:r>
          </a:p>
        </p:txBody>
      </p:sp>
      <p:sp>
        <p:nvSpPr>
          <p:cNvPr id="4" name="Title1">
            <a:extLst>
              <a:ext uri="{FF2B5EF4-FFF2-40B4-BE49-F238E27FC236}">
                <a16:creationId xmlns:a16="http://schemas.microsoft.com/office/drawing/2014/main" id="{BCED1674-BDED-ED6E-3671-06673A3E05B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013279B-871D-047D-F403-CA3739E26584}"/>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89D0CC2-790A-BA56-2B5E-19021DD095EB}"/>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3559904-C01C-AB6A-0286-1E6C65DB6A59}"/>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457E527A-C70B-8C34-08E4-CE440160DCA0}"/>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9255326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A60F2-1E3C-19B0-D4BB-E5D57623024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7C3A50B-A190-72BE-105C-707D01BD0583}"/>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B96B4AB-9B5F-D048-C613-6F59E0B4AF0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9ECFF21-9C8D-5D81-5896-947516D2621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49B062D-C429-FF32-773F-D00C08BC258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E406CC0-FB2D-95C9-601D-0CAECE521EA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Ocean Potion (0.1%) | Up &amp; Down Pricing | Walmart | Assumes no other are changing prices</a:t>
            </a:r>
          </a:p>
        </p:txBody>
      </p:sp>
      <p:sp>
        <p:nvSpPr>
          <p:cNvPr id="4" name="Title1">
            <a:extLst>
              <a:ext uri="{FF2B5EF4-FFF2-40B4-BE49-F238E27FC236}">
                <a16:creationId xmlns:a16="http://schemas.microsoft.com/office/drawing/2014/main" id="{9FB3A683-FD64-0EA9-566E-73B4C68FF6D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BDBB05D-46C0-346A-299E-B235D0ED216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4896C93-2267-017D-DC62-CF40C234828E}"/>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7D0CD3B-9BBF-402E-189C-EE5CB2B87EDB}"/>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B545D80A-1A6B-9E25-792D-326FBB27C2E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6060014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BB1F12-62B0-7408-27E1-A37E7007564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49BD09D-013A-F086-09BF-5AFB2C93B33C}"/>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E41D7AB-76AC-1100-24C7-95B12D40619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71FED8F-4173-F8F5-4E07-46053171165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89E9FF9-2AC0-33C4-43E4-CF4FF773499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8C0DE40-43DA-8C8F-F689-8CCB60C9F1F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seline (0.4%) | Up &amp; Down Pricing | Walmart | Assumes no other are changing prices</a:t>
            </a:r>
          </a:p>
        </p:txBody>
      </p:sp>
      <p:sp>
        <p:nvSpPr>
          <p:cNvPr id="4" name="Title1">
            <a:extLst>
              <a:ext uri="{FF2B5EF4-FFF2-40B4-BE49-F238E27FC236}">
                <a16:creationId xmlns:a16="http://schemas.microsoft.com/office/drawing/2014/main" id="{11404176-49F5-8932-A050-6263D407369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D91AE91-E739-F4E4-C303-4E1DF9A9E02E}"/>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23218AE-11B9-8703-8BDC-B4FDD095879A}"/>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7068B97-B579-9440-3337-59D600333D2B}"/>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EEA499B-D179-05B2-5DC1-887D4FAA95BE}"/>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604795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61B41D-A3E0-82A3-444E-3D2592E6D37B}"/>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A4C977F6-94EE-E3E9-E8B4-7BFF716B221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EE1501BB-4561-5AAA-65FA-B61B898116A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B18F46E5-7853-C5BF-C963-ACDE21B58C49}"/>
              </a:ext>
            </a:extLst>
          </p:cNvPr>
          <p:cNvSpPr>
            <a:spLocks noGrp="1"/>
          </p:cNvSpPr>
          <p:nvPr>
            <p:ph type="body" sz="quarter" idx="18"/>
          </p:nvPr>
        </p:nvSpPr>
        <p:spPr>
          <a:xfrm>
            <a:off x="503238" y="774000"/>
            <a:ext cx="8136762" cy="360000"/>
          </a:xfrm>
        </p:spPr>
        <p:txBody>
          <a:bodyPr/>
          <a:lstStyle/>
          <a:p>
            <a:pPr>
              <a:defRPr sz="1200"/>
            </a:pPr>
            <a:r>
              <a:t>Based on price change | by Brand | Sunscreen Adults | Walmart</a:t>
            </a:r>
          </a:p>
        </p:txBody>
      </p:sp>
      <p:sp>
        <p:nvSpPr>
          <p:cNvPr id="3" name="Title 2">
            <a:extLst>
              <a:ext uri="{FF2B5EF4-FFF2-40B4-BE49-F238E27FC236}">
                <a16:creationId xmlns:a16="http://schemas.microsoft.com/office/drawing/2014/main" id="{8A77E320-1B62-EFAF-2C39-A589E5D43ED5}"/>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90798CA2-9E8A-B44F-9C63-A116C59C3085}"/>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76D54C14-2A1E-24D6-AA08-7E93241323CB}"/>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CAE43EEE-237D-88E8-3FF4-EEE25DAB39DB}"/>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AFF8EC4B-04AE-692C-43CC-DD3DC38181C6}"/>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C339C715-D846-B7B9-8EA4-BBDE8AE1E8EF}"/>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2472D62B-4164-2F0B-A9A4-3A85DDE6855F}"/>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239A774B-B049-8562-181D-867B28E7539A}"/>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2EFBF743-2285-1889-C325-0929418273CF}"/>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553673A-5AFE-7BD5-72EB-3E3D4CFEF13E}"/>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12494526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AE8D9-DF82-0D4E-7FED-7233DFECA17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5D74BA3-7C16-EF29-F47B-80F1F21CB528}"/>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62F0BD4-477F-80A6-1900-DB50C8FE1689}"/>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CD6976B-C5E1-349E-2B9A-C56EF7010D6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1DD3AA8-D3F4-8389-ADB5-944F0D73283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6CE715C-2F8E-C13B-F25F-5E48FDB88A9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ucerin (1.1%) | Up &amp; Down Pricing | Walmart | Assumes no other are changing prices</a:t>
            </a:r>
          </a:p>
        </p:txBody>
      </p:sp>
      <p:sp>
        <p:nvSpPr>
          <p:cNvPr id="4" name="Title1">
            <a:extLst>
              <a:ext uri="{FF2B5EF4-FFF2-40B4-BE49-F238E27FC236}">
                <a16:creationId xmlns:a16="http://schemas.microsoft.com/office/drawing/2014/main" id="{114F9F6D-4D65-5FCD-8E81-80E6C2AA7C2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968C02E-317B-5BC8-8350-8909008D9319}"/>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967379B-7CA6-7739-CE3F-6C5622B5609E}"/>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4E20B76-AE24-160B-787F-F1BD81E1C970}"/>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4015F046-558F-6AAA-38DE-CCBFCB02ECC5}"/>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1576812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4D3E7-7822-8437-4C0F-A8761B62E34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1FBBD3D-1952-F6B2-786C-AFDC45D10E0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68BB29E-DA97-3C7F-A9F6-BABC380F9DA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A7CA33A-558F-C367-0C61-9AC12C49AED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14AFA6F-C0AF-5B14-65C1-BD40E41136C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452E0C36-F046-2377-F7E5-FEC23C48DFB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 Roche-Posay (1.9%) | Up &amp; Down Pricing | Walmart | Assumes no other are changing prices</a:t>
            </a:r>
          </a:p>
        </p:txBody>
      </p:sp>
      <p:sp>
        <p:nvSpPr>
          <p:cNvPr id="4" name="Title1">
            <a:extLst>
              <a:ext uri="{FF2B5EF4-FFF2-40B4-BE49-F238E27FC236}">
                <a16:creationId xmlns:a16="http://schemas.microsoft.com/office/drawing/2014/main" id="{8BF04E8C-21E9-1996-1649-5EEE09B898E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88F3989-A27B-4148-DA75-E7F93B91DF1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AF54E43-0A92-3716-A3EE-67F7223C9824}"/>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935425C2-64DF-A6EA-05FE-41021608A902}"/>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399E4DCC-5AB5-279B-1879-0D6622F6DE1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4291805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CBE21-5F75-6349-8C84-56BBA2B79BD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790E4C1-9821-CA32-657C-6CEC579A8D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D3A00477-7013-4DBB-07DC-009FEFBDB9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F6DF1D7F-6575-55E7-15B1-F808877CDFE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906ACD7C-A3E6-79DB-4067-CC8338A962E2}"/>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E367CCEF-A429-43A6-C465-399A48C4265C}"/>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C521AB74-8C28-5234-2B05-4F2150F9C67B}"/>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C3AAECEB-3656-4BD8-799D-8990116F7485}"/>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8BCB9236-7BB5-0A7C-B829-30D5EB6AA3D6}"/>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6EEA6EC2-5622-0696-4794-CA6437118D4A}"/>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CB73AF49-B0DE-9248-1FCA-4826BFC40341}"/>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34839053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BBAF73-4A72-12F4-EFD5-32B3656EA53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3A9C788-E5EA-686F-AC1F-FC488B199C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96FA28AD-1C1D-3B9D-E365-6F42B7748EF6}"/>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CA7D3B67-CB87-B527-9447-AFF8A366FA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0ED789B8-B1AC-79F9-C806-166C1F48792B}"/>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57E6E484-7E4B-62B3-5529-0FB4F8D8FE01}"/>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C949AFCB-4B07-1831-6C77-A08B32E0FD6A}"/>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1C365BD7-8862-2406-8356-4A11980FD4AC}"/>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0D14E479-A3DB-48CD-FF91-66DCF0372B6F}"/>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1A4E2B5F-13FA-F5D9-D852-60938850EE7F}"/>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3BA5159B-1F0E-6946-CBE3-B915FC2F562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1277136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493FA-48DE-1226-8159-37004C21318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7F0B920-1FDF-1D6F-4EE9-FA198D612F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6CEC731D-383A-A66A-C382-0760C5C99361}"/>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DEBBCDB4-DCBA-D20F-433E-B050F673BC9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54BAC767-4386-D1A0-F249-B03A78FC08E5}"/>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1969EDD1-A898-4742-4AD6-AF24C5175BD6}"/>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CC704972-A0AF-7034-12E0-015CDEE8E4FD}"/>
              </a:ext>
            </a:extLst>
          </p:cNvPr>
          <p:cNvGraphicFramePr>
            <a:graphicFrameLocks noGrp="1"/>
          </p:cNvGraphicFramePr>
          <p:nvPr/>
        </p:nvGraphicFramePr>
        <p:xfrm>
          <a:off x="546970" y="1137285"/>
          <a:ext cx="8093792" cy="3521950"/>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9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3.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742F8DF2-DE3F-2BA0-61F6-AB277954A193}"/>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2A8B4E7-D44A-8A2C-2F53-FA2FF8608F15}"/>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74DD1618-2498-306F-3419-2D59F7FC0F46}"/>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5AAB4D1-3588-4B6B-8AEF-6A3D50214D7B}"/>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8321866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E814D-27A2-C937-EE9B-FB79C56D7FD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9240F39-F2FE-BCEF-9039-60380DCC7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1B5BDC6A-448D-E30A-BFB2-DD0D3B220AD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45CB74BF-9751-3B86-DFCE-FA69AB3B3FB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695A7427-D57C-9A7B-71FF-194914D37785}"/>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E35ABB74-F467-E235-5BD3-5C31531A5EF6}"/>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969A6047-4414-A3E2-4393-29DD1103E489}"/>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9A96FC7B-4CC7-C717-6134-A5534E212B51}"/>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07622321-AB44-633C-F51D-A1999771580E}"/>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0888B98E-64E8-EC19-A7F8-A3638229EADB}"/>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B37B58AE-481E-B929-B044-DB2177BF1AF6}"/>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1061511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A91DE-9A3B-E46B-8107-E5C076AE81A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66E3081-9FEB-07E6-C484-2D71AFD356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214EB1F0-6B62-F1AC-70EA-8955861ACF4C}"/>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C0257092-6BAA-BA40-BE40-A3FE935839A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AA1EA557-05BA-2B38-31CF-7AF2172FAC62}"/>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E7EF1A20-968C-578E-3B98-4D2BB2859DCE}"/>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FA61FA33-C592-6305-F1A0-A19A5E1C4E10}"/>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96EE5632-3414-88A1-50A1-BD906BD90AF6}"/>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4E107372-2407-2506-E31F-A9BDE3E182F7}"/>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897E6CAB-73BA-CECA-E1C1-A092A9F4E5B9}"/>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432B1B49-0319-9360-B87B-B1FE0CDB129F}"/>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21714099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B0226-F657-DF01-83D3-3B9C47E6576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EE354E0-CE78-D72B-C6F9-233AE2EFBD7F}"/>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C2DD1A64-19FA-A18F-6BE8-ABEF7213A6D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2CF0C64A-6F85-8106-44BB-B811AEC8F00E}"/>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 Price Elasticity | Walmart | Assumes no other products are changing prices</a:t>
            </a:r>
          </a:p>
        </p:txBody>
      </p:sp>
      <p:sp>
        <p:nvSpPr>
          <p:cNvPr id="18" name="Title 17">
            <a:extLst>
              <a:ext uri="{FF2B5EF4-FFF2-40B4-BE49-F238E27FC236}">
                <a16:creationId xmlns:a16="http://schemas.microsoft.com/office/drawing/2014/main" id="{0FB4A4BE-F408-6EE3-614E-810DF8B21F42}"/>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03E77325-7FDA-3BDC-3002-BD3E84BE3372}"/>
              </a:ext>
            </a:extLst>
          </p:cNvPr>
          <p:cNvGraphicFramePr>
            <a:graphicFrameLocks/>
          </p:cNvGraphicFramePr>
          <p:nvPr/>
        </p:nvGraphicFramePr>
        <p:xfrm>
          <a:off x="4579258" y="1141495"/>
          <a:ext cx="4057904" cy="149923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pray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Duo Defens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Hawaiian Tropic Ozono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6214E2B-19C8-611E-471B-CBD7D368E711}"/>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6954FC6-2E62-0B50-B3AB-1614E611EA0B}"/>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161BF405-32BF-480A-8CE8-C026AB225BA4}"/>
              </a:ext>
            </a:extLst>
          </p:cNvPr>
          <p:cNvSpPr>
            <a:spLocks noGrp="1"/>
          </p:cNvSpPr>
          <p:nvPr>
            <p:ph type="sldNum" sz="quarter" idx="16"/>
          </p:nvPr>
        </p:nvSpPr>
        <p:spPr/>
        <p:txBody>
          <a:bodyPr/>
          <a:lstStyle/>
          <a:p>
            <a:fld id="{7B1F438D-4EAF-094E-9162-80CF3EF77236}" type="slidenum">
              <a:rPr lang="en-US" smtClean="0"/>
              <a:pPr/>
              <a:t>27</a:t>
            </a:fld>
            <a:endParaRPr lang="en-US"/>
          </a:p>
        </p:txBody>
      </p:sp>
      <p:sp>
        <p:nvSpPr>
          <p:cNvPr id="3" name="TextBox Y">
            <a:extLst>
              <a:ext uri="{FF2B5EF4-FFF2-40B4-BE49-F238E27FC236}">
                <a16:creationId xmlns:a16="http://schemas.microsoft.com/office/drawing/2014/main" id="{640B8A31-8BCB-DB8A-5201-8B50D86407C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1775094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3156F-82E2-035F-B53E-BEA1DC44464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A1F3D99-D8DE-C54F-76E7-AD374D9BC13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F7E968D-E7CB-519E-324C-A7CEFE3F0AB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93CB5AD-C837-9CEE-E72E-DF71FEFA1FF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120ml | Walmart | Assuming no other products are changing prices</a:t>
            </a:r>
          </a:p>
        </p:txBody>
      </p:sp>
      <p:sp>
        <p:nvSpPr>
          <p:cNvPr id="10" name="Title 9">
            <a:extLst>
              <a:ext uri="{FF2B5EF4-FFF2-40B4-BE49-F238E27FC236}">
                <a16:creationId xmlns:a16="http://schemas.microsoft.com/office/drawing/2014/main" id="{39272F68-74ED-F0C9-CA16-89DF7C5790C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C6C644A-0E82-67AA-0477-DA874D22AA9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3CD5A3A-CF10-3BF2-7D09-32E5DD6D73E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D33D215-FE66-0173-4581-8991F7FF7CF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38A54FC-9DC8-9B58-BB9C-3B5760E8085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484F4E3-0170-16B4-B8DE-AD70746539E4}"/>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67B588F7-1186-FE59-7719-0F08336663EF}"/>
              </a:ext>
            </a:extLst>
          </p:cNvPr>
          <p:cNvSpPr>
            <a:spLocks noGrp="1"/>
          </p:cNvSpPr>
          <p:nvPr>
            <p:ph type="sldNum" sz="quarter" idx="16"/>
          </p:nvPr>
        </p:nvSpPr>
        <p:spPr/>
        <p:txBody>
          <a:bodyPr/>
          <a:lstStyle/>
          <a:p>
            <a:fld id="{7B1F438D-4EAF-094E-9162-80CF3EF77236}" type="slidenum">
              <a:rPr lang="en-US" smtClean="0"/>
              <a:pPr/>
              <a:t>28</a:t>
            </a:fld>
            <a:endParaRPr lang="en-US"/>
          </a:p>
        </p:txBody>
      </p:sp>
      <p:sp>
        <p:nvSpPr>
          <p:cNvPr id="22" name="Rectangle 21">
            <a:extLst>
              <a:ext uri="{FF2B5EF4-FFF2-40B4-BE49-F238E27FC236}">
                <a16:creationId xmlns:a16="http://schemas.microsoft.com/office/drawing/2014/main" id="{96686402-0774-61B9-B6E3-FEDCE207097A}"/>
              </a:ext>
            </a:extLst>
          </p:cNvPr>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D6F10DDC-FECF-78A6-0A72-4C44B8B48871}"/>
              </a:ext>
            </a:extLst>
          </p:cNvPr>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7BA28EA5-2A06-98A2-DCB8-77D87B5C942A}"/>
              </a:ext>
            </a:extLst>
          </p:cNvPr>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964DFD4D-1853-B6E5-B84D-4517BA725C64}"/>
              </a:ext>
            </a:extLst>
          </p:cNvPr>
          <p:cNvSpPr/>
          <p:nvPr/>
        </p:nvSpPr>
        <p:spPr>
          <a:xfrm>
            <a:off x="29502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24678D65-9A82-FA70-6CF1-D440F368BE51}"/>
              </a:ext>
            </a:extLst>
          </p:cNvPr>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12527729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A55AC-DA80-428D-2975-BCC79D83317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0348098-0E72-EF6F-8C63-E984724B41C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60A99D1-40F3-0960-86E3-120F22AE20A7}"/>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5050086-3438-08E6-A149-26852321B68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1FD1488-01E4-59D4-0097-8E41D803582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7A41D35-1671-7D43-16AE-573E8C42C11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120ml (0.9%) | Up &amp; Down Pricing | Walmart | Assumes no other are changing prices</a:t>
            </a:r>
          </a:p>
        </p:txBody>
      </p:sp>
      <p:sp>
        <p:nvSpPr>
          <p:cNvPr id="4" name="Title1">
            <a:extLst>
              <a:ext uri="{FF2B5EF4-FFF2-40B4-BE49-F238E27FC236}">
                <a16:creationId xmlns:a16="http://schemas.microsoft.com/office/drawing/2014/main" id="{6ED4D8F7-F26C-E56F-A77F-58353AC59CA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1E963D6-48F1-1CBB-29D0-1D71737BD89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596EF35-5E7C-C7B3-7880-8B701EC2F4C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4E35764-5479-D48F-9891-FED8CE6216C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965A3F4-55D1-493A-5CFB-C9FEE79BB8D2}"/>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DAF337AD-8E44-4A13-3948-54AE335A171A}"/>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080046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BA3E7-870B-7785-365C-2874C17FA73B}"/>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E8D6C834-38FD-1CA3-1D3A-2D22641878D6}"/>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CF25D156-2131-6856-A2DD-7FD154ED282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7571D82C-3563-B318-44E5-3730934CAAA7}"/>
              </a:ext>
            </a:extLst>
          </p:cNvPr>
          <p:cNvSpPr>
            <a:spLocks noGrp="1"/>
          </p:cNvSpPr>
          <p:nvPr>
            <p:ph type="body" sz="quarter" idx="18"/>
          </p:nvPr>
        </p:nvSpPr>
        <p:spPr>
          <a:xfrm>
            <a:off x="503238" y="774000"/>
            <a:ext cx="8136762" cy="360000"/>
          </a:xfrm>
        </p:spPr>
        <p:txBody>
          <a:bodyPr/>
          <a:lstStyle/>
          <a:p>
            <a:pPr>
              <a:defRPr sz="1200"/>
            </a:pPr>
            <a:r>
              <a:t>Based on price change | by Brand | Facial Sunscreen | Walmart</a:t>
            </a:r>
          </a:p>
        </p:txBody>
      </p:sp>
      <p:sp>
        <p:nvSpPr>
          <p:cNvPr id="3" name="Title 2">
            <a:extLst>
              <a:ext uri="{FF2B5EF4-FFF2-40B4-BE49-F238E27FC236}">
                <a16:creationId xmlns:a16="http://schemas.microsoft.com/office/drawing/2014/main" id="{AE47B225-92D8-3F26-054B-15A8EA11ED18}"/>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16CA6138-0961-1C46-FC5E-49A5FD91A4D8}"/>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D5264072-7BC4-ACBA-36C4-6EBEF3417FD0}"/>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44A8D1E9-6E53-B2F7-3DB6-A1DD71ADB35E}"/>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BD24D3CE-CF35-74C4-4D6F-A5CE365A9308}"/>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D05806FC-AE6C-68A9-E0C9-AEDCD985C576}"/>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0461B221-0EA7-7E44-D75D-7A716583F621}"/>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A29BBE35-2953-E093-B14E-DC846E8DD08B}"/>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B0EA6C2F-829E-AA8C-8F4C-0176784C683C}"/>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C1D3AE64-B0C4-39B0-337A-15B62022EB41}"/>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15597919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007D6-B269-0D19-56CA-362D9470E11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FE8714-7EAA-5D45-0D24-A2B4E025AC3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7C090B0-34AB-862E-1C0D-7E8DE2A5226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B0D2AB73-EC5C-D722-6241-686A813F43E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pray FPS50+ 180ml | Walmart | Assuming no other products are changing prices</a:t>
            </a:r>
          </a:p>
        </p:txBody>
      </p:sp>
      <p:sp>
        <p:nvSpPr>
          <p:cNvPr id="10" name="Title 9">
            <a:extLst>
              <a:ext uri="{FF2B5EF4-FFF2-40B4-BE49-F238E27FC236}">
                <a16:creationId xmlns:a16="http://schemas.microsoft.com/office/drawing/2014/main" id="{961E5D7D-966F-1E7B-7092-AE24E9E35B8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B63F71E-7A14-211E-12E8-339AE9B2FB9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B8C87F3-C0D2-A74D-C45D-2A6126E7BD3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007FAB5-D3B7-EA26-EE59-D25EAAB024C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9C632A5-31E2-623A-F3AD-FBFF5F64219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06E6073-7A95-7421-D0DB-524E9C44B19F}"/>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A497151F-79C9-E263-D75A-9FE8BA9A8002}"/>
              </a:ext>
            </a:extLst>
          </p:cNvPr>
          <p:cNvSpPr>
            <a:spLocks noGrp="1"/>
          </p:cNvSpPr>
          <p:nvPr>
            <p:ph type="sldNum" sz="quarter" idx="16"/>
          </p:nvPr>
        </p:nvSpPr>
        <p:spPr/>
        <p:txBody>
          <a:bodyPr/>
          <a:lstStyle/>
          <a:p>
            <a:fld id="{7B1F438D-4EAF-094E-9162-80CF3EF77236}" type="slidenum">
              <a:rPr lang="en-US" smtClean="0"/>
              <a:pPr/>
              <a:t>30</a:t>
            </a:fld>
            <a:endParaRPr lang="en-US"/>
          </a:p>
        </p:txBody>
      </p:sp>
      <p:sp>
        <p:nvSpPr>
          <p:cNvPr id="22" name="Rectangle 21">
            <a:extLst>
              <a:ext uri="{FF2B5EF4-FFF2-40B4-BE49-F238E27FC236}">
                <a16:creationId xmlns:a16="http://schemas.microsoft.com/office/drawing/2014/main" id="{1A77CCE6-3DC8-BDBD-5369-0F679069BFFC}"/>
              </a:ext>
            </a:extLst>
          </p:cNvPr>
          <p:cNvSpPr/>
          <p:nvPr/>
        </p:nvSpPr>
        <p:spPr>
          <a:xfrm>
            <a:off x="9720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6662F439-E22B-17FD-1BDB-0D5A8AEDDF17}"/>
              </a:ext>
            </a:extLst>
          </p:cNvPr>
          <p:cNvSpPr/>
          <p:nvPr/>
        </p:nvSpPr>
        <p:spPr>
          <a:xfrm>
            <a:off x="1819800" y="1458000"/>
            <a:ext cx="3334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8B0B2EA2-8530-7CB1-1254-0C8F5CAB2574}"/>
              </a:ext>
            </a:extLst>
          </p:cNvPr>
          <p:cNvSpPr/>
          <p:nvPr/>
        </p:nvSpPr>
        <p:spPr>
          <a:xfrm>
            <a:off x="515448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27A7106E-7B54-0CFB-3DC6-43B32669834A}"/>
              </a:ext>
            </a:extLst>
          </p:cNvPr>
          <p:cNvSpPr/>
          <p:nvPr/>
        </p:nvSpPr>
        <p:spPr>
          <a:xfrm>
            <a:off x="639792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345866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975EE-8A89-47AC-1630-90B98618C08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151B647-EB32-85C0-A546-592448AB988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9CB6B1D-3C4C-0F9F-207C-4222D3514CB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B4228D1-D680-9648-22FB-11AEA4C9ABF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0C711AB-998D-D8CD-53A7-95BEF0A3F32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80BE840-EB9A-365E-6506-BD84A029314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pray FPS50+ 180ml (0.5%) | Up &amp; Down Pricing | Walmart | Assumes no other are changing prices</a:t>
            </a:r>
          </a:p>
        </p:txBody>
      </p:sp>
      <p:sp>
        <p:nvSpPr>
          <p:cNvPr id="4" name="Title1">
            <a:extLst>
              <a:ext uri="{FF2B5EF4-FFF2-40B4-BE49-F238E27FC236}">
                <a16:creationId xmlns:a16="http://schemas.microsoft.com/office/drawing/2014/main" id="{881914DC-3619-2427-9168-DB7354345AA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959E9AA-3681-5755-8884-558D2720AAC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8532BED-F3CA-4710-9604-40FD07692BB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29E885B-80FD-B538-F657-FDA00B81483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71DD979-17AC-D4EE-5D4C-44C2F50B88B9}"/>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BCD50574-950C-D90C-60B2-F32100147C80}"/>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8898905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A75E4-A2CC-E328-89C8-58EF1228603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67E04E7-D161-2B05-F191-5CEEDA44E60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4955BBE-9A3F-E2FB-04A3-0A7DE1FF579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2B5A1F81-7CA9-E6DE-9D46-1E989F375E9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Duo Defense Lotion FPS50+ 180ml | Walmart | Assuming no other products are changing prices</a:t>
            </a:r>
          </a:p>
        </p:txBody>
      </p:sp>
      <p:sp>
        <p:nvSpPr>
          <p:cNvPr id="10" name="Title 9">
            <a:extLst>
              <a:ext uri="{FF2B5EF4-FFF2-40B4-BE49-F238E27FC236}">
                <a16:creationId xmlns:a16="http://schemas.microsoft.com/office/drawing/2014/main" id="{988E9604-888A-13C7-65E1-F81D5570953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CAE7A3E-F48E-E7FD-A6BE-3E8C6BD080F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B04E197-A462-C30B-D780-25D8FABF1F3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BDE305F-39E6-DDB7-082D-CE569F9AF80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C585115-E133-C59E-BD8A-512F6F0CE46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61D39CA-8253-0A92-D9A8-61D58295C7E5}"/>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8D698E47-DA05-17A8-F283-287AF711D5EF}"/>
              </a:ext>
            </a:extLst>
          </p:cNvPr>
          <p:cNvSpPr>
            <a:spLocks noGrp="1"/>
          </p:cNvSpPr>
          <p:nvPr>
            <p:ph type="sldNum" sz="quarter" idx="16"/>
          </p:nvPr>
        </p:nvSpPr>
        <p:spPr/>
        <p:txBody>
          <a:bodyPr/>
          <a:lstStyle/>
          <a:p>
            <a:fld id="{7B1F438D-4EAF-094E-9162-80CF3EF77236}" type="slidenum">
              <a:rPr lang="en-US" smtClean="0"/>
              <a:pPr/>
              <a:t>32</a:t>
            </a:fld>
            <a:endParaRPr lang="en-US"/>
          </a:p>
        </p:txBody>
      </p:sp>
      <p:sp>
        <p:nvSpPr>
          <p:cNvPr id="22" name="Rectangle 21">
            <a:extLst>
              <a:ext uri="{FF2B5EF4-FFF2-40B4-BE49-F238E27FC236}">
                <a16:creationId xmlns:a16="http://schemas.microsoft.com/office/drawing/2014/main" id="{A453BF37-7ED7-C4D0-BF34-2543ABC53E6E}"/>
              </a:ext>
            </a:extLst>
          </p:cNvPr>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E4D73D7-F148-726E-F7F8-B0CC007CF788}"/>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73D3B731-0E97-8266-B35D-297B842BD471}"/>
              </a:ext>
            </a:extLst>
          </p:cNvPr>
          <p:cNvSpPr/>
          <p:nvPr/>
        </p:nvSpPr>
        <p:spPr>
          <a:xfrm>
            <a:off x="311976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3B34B615-51A0-07AB-079A-F2D01D18C772}"/>
              </a:ext>
            </a:extLst>
          </p:cNvPr>
          <p:cNvSpPr/>
          <p:nvPr/>
        </p:nvSpPr>
        <p:spPr>
          <a:xfrm>
            <a:off x="4193639"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D55C479B-03BE-6EB2-9417-AD08B124CB8E}"/>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5699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E9BA6-BD52-F4C8-17CB-9DF5C9622A0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48B5C0D-46D5-1CE1-62EB-D9E78803E79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62C2BDD-CA1E-A86C-CD3F-75C9A72988B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ilk Hydration Lotion FPS50 18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876E087-CFBF-F698-38FC-0175890FDE7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D61D012-F80A-1808-D19F-543193D2AC7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D19C427-45E5-07EE-3F7F-D9E0D7B3317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Duo Defense Lotion FPS50+ 180ml (0.5%) | Up &amp; Down Pricing | Walmart | Assumes no other are changing prices</a:t>
            </a:r>
          </a:p>
        </p:txBody>
      </p:sp>
      <p:sp>
        <p:nvSpPr>
          <p:cNvPr id="4" name="Title1">
            <a:extLst>
              <a:ext uri="{FF2B5EF4-FFF2-40B4-BE49-F238E27FC236}">
                <a16:creationId xmlns:a16="http://schemas.microsoft.com/office/drawing/2014/main" id="{7EB701CC-7D4B-50D3-E8A0-4BFC45C18A0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8022469-765F-9F5F-5506-F55446BCA11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D84488B-6836-AA66-92DF-8B25C980912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BBAC916-F81A-8A6F-6BB7-961DA33B49B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B07A5B4-351C-DA9A-CBD4-5A869E4BC569}"/>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398474DB-B930-B1FB-D36C-ECEC9252261B}"/>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9145929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1F0A1-D639-39A8-A190-C1877C06AA5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CCA09F7-25B3-EBA3-1056-3B7B52B53E1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D5B328F-E44A-5F86-71BA-C1502DF5F1F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26050187-1603-67C8-6425-9CC583B3E6A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240ml | Walmart | Assuming no other products are changing prices</a:t>
            </a:r>
          </a:p>
        </p:txBody>
      </p:sp>
      <p:sp>
        <p:nvSpPr>
          <p:cNvPr id="10" name="Title 9">
            <a:extLst>
              <a:ext uri="{FF2B5EF4-FFF2-40B4-BE49-F238E27FC236}">
                <a16:creationId xmlns:a16="http://schemas.microsoft.com/office/drawing/2014/main" id="{045637F1-E9E9-6499-5874-C3996C97C8F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3865BD4-BDBF-9509-BEEC-493F024331E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AAEC20D-995F-6FE0-A643-DF4E47D1DF0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910A66B-CE51-7C3E-9981-5F8896CA90F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F657BBB-0C78-1AF0-106C-3DEB882A5DE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2725EC0-527C-6640-5CCE-58DDA1009A9C}"/>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1CEE5F20-2954-35D2-7A89-037BEA3F9F2E}"/>
              </a:ext>
            </a:extLst>
          </p:cNvPr>
          <p:cNvSpPr>
            <a:spLocks noGrp="1"/>
          </p:cNvSpPr>
          <p:nvPr>
            <p:ph type="sldNum" sz="quarter" idx="16"/>
          </p:nvPr>
        </p:nvSpPr>
        <p:spPr/>
        <p:txBody>
          <a:bodyPr/>
          <a:lstStyle/>
          <a:p>
            <a:fld id="{7B1F438D-4EAF-094E-9162-80CF3EF77236}" type="slidenum">
              <a:rPr lang="en-US" smtClean="0"/>
              <a:pPr/>
              <a:t>34</a:t>
            </a:fld>
            <a:endParaRPr lang="en-US"/>
          </a:p>
        </p:txBody>
      </p:sp>
      <p:sp>
        <p:nvSpPr>
          <p:cNvPr id="22" name="Rectangle 21">
            <a:extLst>
              <a:ext uri="{FF2B5EF4-FFF2-40B4-BE49-F238E27FC236}">
                <a16:creationId xmlns:a16="http://schemas.microsoft.com/office/drawing/2014/main" id="{996D97F6-81FA-80B9-E284-5993416B27C0}"/>
              </a:ext>
            </a:extLst>
          </p:cNvPr>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48BF81CA-6C20-C23F-407C-6C33698194A1}"/>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11890C0D-0EB0-6B7A-7A32-B7BB1C58EDA0}"/>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416796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3AC40-9426-55D9-DD7B-D07C9322050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D09BDB4-78AD-C75B-15C0-B3467B43DD6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E100D5D-D04D-F317-938D-002BB86E640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F1D2D3D-FA6C-23E8-8072-E24FA09F08A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287EBD3-C9A4-9F77-E179-00EB35260CB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F5093259-5462-A330-6998-6D981FE5C0B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240ml (4.4%) | Up &amp; Down Pricing | Walmart | Assumes no other are changing prices</a:t>
            </a:r>
          </a:p>
        </p:txBody>
      </p:sp>
      <p:sp>
        <p:nvSpPr>
          <p:cNvPr id="4" name="Title1">
            <a:extLst>
              <a:ext uri="{FF2B5EF4-FFF2-40B4-BE49-F238E27FC236}">
                <a16:creationId xmlns:a16="http://schemas.microsoft.com/office/drawing/2014/main" id="{FE82C474-EDA8-F4DF-1CDD-0B3382D034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F1CA7F9-EB69-61F9-7FD4-D7D462FAEC8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1E7B2EE-0361-F5DE-FA53-1FEF6445B24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B0D8D6B-D3A4-5C75-BCBB-0F3C22E5EAD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81A4C6D-4D50-DED8-1D1C-AF6686CF2D1D}"/>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F388D807-4D6E-9769-CCE4-4FD14DFB60EF}"/>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40385409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5DAFA-1F96-B82D-2913-C3C11F0A99E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02BEC0B-7425-1E1E-D20B-AA1B8568CFD6}"/>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9F4B739B-A6BB-31E8-25AB-2D51848ECD5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2368BA9-B906-FBDC-946F-8881BBC553AC}"/>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Innovation | Price Elasticity | Walmart | Assumes no other products are changing prices</a:t>
            </a:r>
          </a:p>
        </p:txBody>
      </p:sp>
      <p:sp>
        <p:nvSpPr>
          <p:cNvPr id="18" name="Title 17">
            <a:extLst>
              <a:ext uri="{FF2B5EF4-FFF2-40B4-BE49-F238E27FC236}">
                <a16:creationId xmlns:a16="http://schemas.microsoft.com/office/drawing/2014/main" id="{FBC3E76C-0D1C-4743-8DED-31599E67826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3955875-107D-8A2F-9A14-3B9D0CFD7005}"/>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3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tick FPS50+ 42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Ultra-Light FPS50+ 1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3ECB0FF0-37DA-2553-ADA7-02FD8F75298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29C02E5E-C65D-2A82-5470-311860A87856}"/>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75805047-FA21-C0C7-D8A7-03FB61AFF710}"/>
              </a:ext>
            </a:extLst>
          </p:cNvPr>
          <p:cNvSpPr>
            <a:spLocks noGrp="1"/>
          </p:cNvSpPr>
          <p:nvPr>
            <p:ph type="sldNum" sz="quarter" idx="16"/>
          </p:nvPr>
        </p:nvSpPr>
        <p:spPr/>
        <p:txBody>
          <a:bodyPr/>
          <a:lstStyle/>
          <a:p>
            <a:fld id="{7B1F438D-4EAF-094E-9162-80CF3EF77236}" type="slidenum">
              <a:rPr lang="en-US" smtClean="0"/>
              <a:pPr/>
              <a:t>36</a:t>
            </a:fld>
            <a:endParaRPr lang="en-US"/>
          </a:p>
        </p:txBody>
      </p:sp>
      <p:sp>
        <p:nvSpPr>
          <p:cNvPr id="3" name="TextBox Y">
            <a:extLst>
              <a:ext uri="{FF2B5EF4-FFF2-40B4-BE49-F238E27FC236}">
                <a16:creationId xmlns:a16="http://schemas.microsoft.com/office/drawing/2014/main" id="{5712F646-F67C-911B-E229-221AF9CA540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874283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54011-F10A-F2B7-F867-07B3928A753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10B84B3-70D0-0882-2FF8-73CB5DDA41D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680DCBE7-4A33-2C29-8EF2-E313F07AFC7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FE23B03-395D-3BAA-4D47-D664DA05835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300ml | Walmart | Assuming no other products are changing prices</a:t>
            </a:r>
          </a:p>
        </p:txBody>
      </p:sp>
      <p:sp>
        <p:nvSpPr>
          <p:cNvPr id="10" name="Title 9">
            <a:extLst>
              <a:ext uri="{FF2B5EF4-FFF2-40B4-BE49-F238E27FC236}">
                <a16:creationId xmlns:a16="http://schemas.microsoft.com/office/drawing/2014/main" id="{340DB8DC-5B76-9B6D-9696-82A247EA493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66E5092-F876-099B-A8B4-526A2949FD6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E0B2D6F-CADE-E650-4150-8801D2F8FF7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F58BBF1-AE9E-F2BD-70FB-DA2B300AB41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D8BB6A5-17FE-C5C0-C329-2A981811893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7078CEF-F17C-7401-3610-7D4289A886D6}"/>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FAB93D53-35A3-FD07-B3BD-4F442F717E81}"/>
              </a:ext>
            </a:extLst>
          </p:cNvPr>
          <p:cNvSpPr>
            <a:spLocks noGrp="1"/>
          </p:cNvSpPr>
          <p:nvPr>
            <p:ph type="sldNum" sz="quarter" idx="16"/>
          </p:nvPr>
        </p:nvSpPr>
        <p:spPr/>
        <p:txBody>
          <a:bodyPr/>
          <a:lstStyle/>
          <a:p>
            <a:fld id="{7B1F438D-4EAF-094E-9162-80CF3EF77236}" type="slidenum">
              <a:rPr lang="en-US" smtClean="0"/>
              <a:pPr/>
              <a:t>37</a:t>
            </a:fld>
            <a:endParaRPr lang="en-US"/>
          </a:p>
        </p:txBody>
      </p:sp>
      <p:sp>
        <p:nvSpPr>
          <p:cNvPr id="22" name="Rectangle 21">
            <a:extLst>
              <a:ext uri="{FF2B5EF4-FFF2-40B4-BE49-F238E27FC236}">
                <a16:creationId xmlns:a16="http://schemas.microsoft.com/office/drawing/2014/main" id="{BAEB291B-F5E3-2CAF-58D3-7D774E8E2261}"/>
              </a:ext>
            </a:extLst>
          </p:cNvPr>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52D5225-57F8-FDAE-2893-A4AE9ADDD1E0}"/>
              </a:ext>
            </a:extLst>
          </p:cNvPr>
          <p:cNvSpPr/>
          <p:nvPr/>
        </p:nvSpPr>
        <p:spPr>
          <a:xfrm>
            <a:off x="28936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F45E43E2-DD06-52F1-1147-AD59561DC27D}"/>
              </a:ext>
            </a:extLst>
          </p:cNvPr>
          <p:cNvSpPr/>
          <p:nvPr/>
        </p:nvSpPr>
        <p:spPr>
          <a:xfrm>
            <a:off x="31197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0B746C96-866F-FF0A-5958-CF01310903CD}"/>
              </a:ext>
            </a:extLst>
          </p:cNvPr>
          <p:cNvSpPr/>
          <p:nvPr/>
        </p:nvSpPr>
        <p:spPr>
          <a:xfrm>
            <a:off x="4306680" y="1458000"/>
            <a:ext cx="2317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850366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D05BA-13B8-67EC-B56A-D63A5BAD107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679711F-68FC-602D-6964-F28BB8BE15B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D4DCA2D-7909-1301-70C8-68AC84E6E38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ECA95C0-B5F5-3034-9363-8AAE7870519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7FE9B29-DE6A-B8B6-D3B1-507F37430DD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B606277-3412-9394-4A00-105627DA79D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300ml (0.0%) | Up &amp; Down Pricing | Walmart | Assumes no other are changing prices</a:t>
            </a:r>
          </a:p>
        </p:txBody>
      </p:sp>
      <p:sp>
        <p:nvSpPr>
          <p:cNvPr id="4" name="Title1">
            <a:extLst>
              <a:ext uri="{FF2B5EF4-FFF2-40B4-BE49-F238E27FC236}">
                <a16:creationId xmlns:a16="http://schemas.microsoft.com/office/drawing/2014/main" id="{8969FF86-7551-5A9C-B1A7-BA87EC6EFB0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326AE27-8C6E-094A-53AB-05AB4434ECE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DE95BEC-89C9-3E4D-BEFE-1088E0CF578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39C6297-4C17-0709-4974-7F8DE35298F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9E0C3D2-2467-79B9-56BD-938C8AE0EF0A}"/>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ED008D99-6877-5CF0-82A1-F1225532951F}"/>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36175030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7A5EA-4678-3BFF-A521-D69932C4D9E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3FA3287-2E60-FA95-ACDF-326D14A5DEA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CF24807-7A3A-205B-82BC-6107A7CF50D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5B7471B0-ADD4-2083-ACC8-046020D0763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tick FPS50+ 42g | Walmart | Assuming no other products are changing prices</a:t>
            </a:r>
          </a:p>
        </p:txBody>
      </p:sp>
      <p:sp>
        <p:nvSpPr>
          <p:cNvPr id="10" name="Title 9">
            <a:extLst>
              <a:ext uri="{FF2B5EF4-FFF2-40B4-BE49-F238E27FC236}">
                <a16:creationId xmlns:a16="http://schemas.microsoft.com/office/drawing/2014/main" id="{E3439916-9AA7-9932-9C8C-9509975771F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F9A1B67-7D2E-91BF-5525-9AA3322FACE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A8C7DF7-CA9E-E47D-59B4-4D37DE4098A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73B72A6-B1D9-4972-BB2D-F6D8C8ACF22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924D8FB-4C92-BAD7-12CA-DC07E0A9B0B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99BDE22-3568-9405-5F66-42F5EFBD39EC}"/>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78705109-A61C-3F97-7D9B-03FC32E1DE52}"/>
              </a:ext>
            </a:extLst>
          </p:cNvPr>
          <p:cNvSpPr>
            <a:spLocks noGrp="1"/>
          </p:cNvSpPr>
          <p:nvPr>
            <p:ph type="sldNum" sz="quarter" idx="16"/>
          </p:nvPr>
        </p:nvSpPr>
        <p:spPr/>
        <p:txBody>
          <a:bodyPr/>
          <a:lstStyle/>
          <a:p>
            <a:fld id="{7B1F438D-4EAF-094E-9162-80CF3EF77236}" type="slidenum">
              <a:rPr lang="en-US" smtClean="0"/>
              <a:pPr/>
              <a:t>39</a:t>
            </a:fld>
            <a:endParaRPr lang="en-US"/>
          </a:p>
        </p:txBody>
      </p:sp>
      <p:sp>
        <p:nvSpPr>
          <p:cNvPr id="22" name="Rectangle 21">
            <a:extLst>
              <a:ext uri="{FF2B5EF4-FFF2-40B4-BE49-F238E27FC236}">
                <a16:creationId xmlns:a16="http://schemas.microsoft.com/office/drawing/2014/main" id="{1F1A7432-0BF5-7DD0-95F5-C7215C27BFAC}"/>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79E9FA23-08B7-DCF8-9D37-39947D1A5FDA}"/>
              </a:ext>
            </a:extLst>
          </p:cNvPr>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E7841B2E-3951-52CE-E120-B9BB638D2FA5}"/>
              </a:ext>
            </a:extLst>
          </p:cNvPr>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76AEF12B-5732-894F-4EB2-CDAEAE9C94B5}"/>
              </a:ext>
            </a:extLst>
          </p:cNvPr>
          <p:cNvSpPr/>
          <p:nvPr/>
        </p:nvSpPr>
        <p:spPr>
          <a:xfrm>
            <a:off x="43632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2531E771-31D4-E327-32F6-C793E018CBF1}"/>
              </a:ext>
            </a:extLst>
          </p:cNvPr>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66734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058D8-1EF5-33C3-6D16-709BD176AF58}"/>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57F65786-5877-8715-A89B-0C3D64C1FE9D}"/>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C0BCF006-9C0E-8E38-2F1F-C60D3C4EAEB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9F40016A-D42A-A6DC-63D6-DF82E60546B9}"/>
              </a:ext>
            </a:extLst>
          </p:cNvPr>
          <p:cNvSpPr>
            <a:spLocks noGrp="1"/>
          </p:cNvSpPr>
          <p:nvPr>
            <p:ph type="body" sz="quarter" idx="18"/>
          </p:nvPr>
        </p:nvSpPr>
        <p:spPr>
          <a:xfrm>
            <a:off x="503238" y="774000"/>
            <a:ext cx="8136762" cy="360000"/>
          </a:xfrm>
        </p:spPr>
        <p:txBody>
          <a:bodyPr/>
          <a:lstStyle/>
          <a:p>
            <a:pPr>
              <a:defRPr sz="1200"/>
            </a:pPr>
            <a:r>
              <a:t>Based on price change | by Brand | Sunscreen Kids | Walmart</a:t>
            </a:r>
          </a:p>
        </p:txBody>
      </p:sp>
      <p:sp>
        <p:nvSpPr>
          <p:cNvPr id="3" name="Title 2">
            <a:extLst>
              <a:ext uri="{FF2B5EF4-FFF2-40B4-BE49-F238E27FC236}">
                <a16:creationId xmlns:a16="http://schemas.microsoft.com/office/drawing/2014/main" id="{EBFA6C3A-EB4A-61D6-DDFC-BBA6BF6FB577}"/>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EC7A0D10-0708-6A6F-6081-F2890F25F90D}"/>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36CE654E-DD94-5F6E-DDE1-2A5FECFDF1E9}"/>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1CEE912C-05A4-642C-3465-06B6FD9130A0}"/>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75509011-E498-4A24-BF21-FD366A23459E}"/>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2D34B0BF-AF84-EFFB-3561-4DE1B9A458FF}"/>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0725AC3A-8766-2631-4D02-F41D747E8A79}"/>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DD1C13CE-4D6D-2DF3-8CF4-B60BCFEADFB0}"/>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4C1D9DF9-4050-EA22-3DCA-5F7968FD0716}"/>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720771CF-FB49-B649-AE2B-FDE46049EFD7}"/>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11595078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446A9-700A-19ED-AF00-CE92995DFB7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1797C6B-E067-6E78-7D00-8A4B9C3BC5A7}"/>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6A20ABD-262B-6704-7861-DC2771C4211D}"/>
              </a:ext>
            </a:extLst>
          </p:cNvPr>
          <p:cNvGraphicFramePr>
            <a:graphicFrameLocks noGrp="1"/>
          </p:cNvGraphicFramePr>
          <p:nvPr/>
        </p:nvGraphicFramePr>
        <p:xfrm>
          <a:off x="4645532" y="1133206"/>
          <a:ext cx="3994468" cy="3713643"/>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A2D5282-21F7-BCA8-8726-2D335C95BB7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1978DC3-FAB6-9D54-8ACA-2BAD8477DEF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8D82DD7D-983A-70EF-FFC9-A977612B5FC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tick FPS50+ 42g (0.0%) | Up &amp; Down Pricing | Walmart | Assumes no other are changing prices</a:t>
            </a:r>
          </a:p>
        </p:txBody>
      </p:sp>
      <p:sp>
        <p:nvSpPr>
          <p:cNvPr id="4" name="Title1">
            <a:extLst>
              <a:ext uri="{FF2B5EF4-FFF2-40B4-BE49-F238E27FC236}">
                <a16:creationId xmlns:a16="http://schemas.microsoft.com/office/drawing/2014/main" id="{CD8B1B86-9AE9-B4B7-CAB5-467726CA159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5B24BE5-39CB-4B7B-B677-6A416316275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FD29B25-5D58-F47E-4BF7-C5CBEF90F8C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85DFB2D-D9F3-D2B7-F86C-6536D592FEE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3164D8D-4B60-4D9D-33A5-1BA8DDC17CF2}"/>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0B86A541-9BD3-30B4-9913-11BE79B5E6E7}"/>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7630479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96777-8CFA-D703-81C2-CBF3082058C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3789781-E126-7A33-E840-47258E3AA6F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F350745-78EB-EAF6-EEE3-6307464F856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729BEE6-2834-A0D0-5402-A5891A93E84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Ultra-Light FPS50+ 140ml | Walmart | Assuming no other products are changing prices</a:t>
            </a:r>
          </a:p>
        </p:txBody>
      </p:sp>
      <p:sp>
        <p:nvSpPr>
          <p:cNvPr id="10" name="Title 9">
            <a:extLst>
              <a:ext uri="{FF2B5EF4-FFF2-40B4-BE49-F238E27FC236}">
                <a16:creationId xmlns:a16="http://schemas.microsoft.com/office/drawing/2014/main" id="{B94DD2BE-B52E-F29B-DB32-0A1F9FA370A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9606AF1-FAD2-26FF-B47C-75366625B42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F90E346-1C96-49E3-9EF8-129B5D3DA2C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F1DE346-0D72-73D4-4476-F631DBBE796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E83B487-012E-6ABA-E5EA-92724C2B7C6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A50055A-50C9-D3E8-A2B8-83C928790E8F}"/>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0EBAA721-16B1-26BC-0F6A-5716A9198266}"/>
              </a:ext>
            </a:extLst>
          </p:cNvPr>
          <p:cNvSpPr>
            <a:spLocks noGrp="1"/>
          </p:cNvSpPr>
          <p:nvPr>
            <p:ph type="sldNum" sz="quarter" idx="16"/>
          </p:nvPr>
        </p:nvSpPr>
        <p:spPr/>
        <p:txBody>
          <a:bodyPr/>
          <a:lstStyle/>
          <a:p>
            <a:fld id="{7B1F438D-4EAF-094E-9162-80CF3EF77236}" type="slidenum">
              <a:rPr lang="en-US" smtClean="0"/>
              <a:pPr/>
              <a:t>41</a:t>
            </a:fld>
            <a:endParaRPr lang="en-US"/>
          </a:p>
        </p:txBody>
      </p:sp>
      <p:sp>
        <p:nvSpPr>
          <p:cNvPr id="22" name="Rectangle 21">
            <a:extLst>
              <a:ext uri="{FF2B5EF4-FFF2-40B4-BE49-F238E27FC236}">
                <a16:creationId xmlns:a16="http://schemas.microsoft.com/office/drawing/2014/main" id="{5D7A5CAF-7693-F101-770E-93FD7D1A334F}"/>
              </a:ext>
            </a:extLst>
          </p:cNvPr>
          <p:cNvSpPr/>
          <p:nvPr/>
        </p:nvSpPr>
        <p:spPr>
          <a:xfrm>
            <a:off x="972000" y="1458000"/>
            <a:ext cx="1469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15486A17-7DEB-C90E-9D72-C20CB494A23F}"/>
              </a:ext>
            </a:extLst>
          </p:cNvPr>
          <p:cNvSpPr/>
          <p:nvPr/>
        </p:nvSpPr>
        <p:spPr>
          <a:xfrm>
            <a:off x="244152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BC7D49EF-3099-B0C9-B394-43BD6AFC1DF8}"/>
              </a:ext>
            </a:extLst>
          </p:cNvPr>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1E5A6EB2-AF8B-B597-B854-1BC75D87E50A}"/>
              </a:ext>
            </a:extLst>
          </p:cNvPr>
          <p:cNvSpPr/>
          <p:nvPr/>
        </p:nvSpPr>
        <p:spPr>
          <a:xfrm>
            <a:off x="4193639"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AD374028-DF56-96A9-0C76-037C2E1A860D}"/>
              </a:ext>
            </a:extLst>
          </p:cNvPr>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6745829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F5FFC-2D73-592A-4409-233032E4703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8758B08-0094-8E7B-6437-964ECD56FD1F}"/>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A1F5E76-CF11-8E5D-A9FB-0F7D8BC30BC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572A170-F5A7-0B04-D2D4-861CAF95917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5896DB1-4610-142A-CA4E-6CD7EE94D4B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0D09D1A-F67D-D060-3959-47228EBAC75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Ultra-Light FPS50+ 140ml (0.0%) | Up &amp; Down Pricing | Walmart | Assumes no other are changing prices</a:t>
            </a:r>
          </a:p>
        </p:txBody>
      </p:sp>
      <p:sp>
        <p:nvSpPr>
          <p:cNvPr id="4" name="Title1">
            <a:extLst>
              <a:ext uri="{FF2B5EF4-FFF2-40B4-BE49-F238E27FC236}">
                <a16:creationId xmlns:a16="http://schemas.microsoft.com/office/drawing/2014/main" id="{531483DE-0E28-B7AF-2A32-17C59A4071E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42AA1A0-D6BF-D744-8FD9-8B5B18F234B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A53DCCF-609D-968B-DBF6-734F925E759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F351387-20DF-7270-C498-C27A7BC75D8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BC71683-B369-9A7F-59F1-DBD12C33AB7B}"/>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15C00DE5-F63F-22A7-7ECB-3E63E320899A}"/>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9079039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564E4D-BAD7-55E8-5248-24FD2A800E3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F89560-73BE-41AC-92F1-2904717AB32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58806D9-6C2A-7765-54C4-087E2128562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18C862B2-A22F-1A3A-0BAA-E2094B313348}"/>
              </a:ext>
            </a:extLst>
          </p:cNvPr>
          <p:cNvSpPr>
            <a:spLocks noGrp="1"/>
          </p:cNvSpPr>
          <p:nvPr>
            <p:ph type="body" sz="quarter" idx="18"/>
          </p:nvPr>
        </p:nvSpPr>
        <p:spPr>
          <a:xfrm>
            <a:off x="503238" y="774000"/>
            <a:ext cx="8136762" cy="360000"/>
          </a:xfrm>
        </p:spPr>
        <p:txBody>
          <a:bodyPr/>
          <a:lstStyle/>
          <a:p>
            <a:pPr>
              <a:defRPr sz="1200">
                <a:latin typeface="Nexa Bold (Headings)"/>
              </a:defRPr>
            </a:pPr>
            <a:r>
              <a:t>HT Island Sport | Price Elasticity | Walmart | Assumes no other products are changing prices</a:t>
            </a:r>
          </a:p>
        </p:txBody>
      </p:sp>
      <p:sp>
        <p:nvSpPr>
          <p:cNvPr id="18" name="Title 17">
            <a:extLst>
              <a:ext uri="{FF2B5EF4-FFF2-40B4-BE49-F238E27FC236}">
                <a16:creationId xmlns:a16="http://schemas.microsoft.com/office/drawing/2014/main" id="{9DE9095F-16ED-F649-B7DC-CBE1529ECC8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069657E-E6C3-34A5-8507-F941DD5B9999}"/>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Island Sport Spray FPS50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Island Sport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335417E3-93A1-0A21-2E19-64E842395198}"/>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2492CC51-49B8-D5E5-E280-127AEF874EDA}"/>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C28DC6FA-4165-E54A-F16C-CED01DFD0E50}"/>
              </a:ext>
            </a:extLst>
          </p:cNvPr>
          <p:cNvSpPr>
            <a:spLocks noGrp="1"/>
          </p:cNvSpPr>
          <p:nvPr>
            <p:ph type="sldNum" sz="quarter" idx="16"/>
          </p:nvPr>
        </p:nvSpPr>
        <p:spPr/>
        <p:txBody>
          <a:bodyPr/>
          <a:lstStyle/>
          <a:p>
            <a:fld id="{7B1F438D-4EAF-094E-9162-80CF3EF77236}" type="slidenum">
              <a:rPr lang="en-US" smtClean="0"/>
              <a:pPr/>
              <a:t>43</a:t>
            </a:fld>
            <a:endParaRPr lang="en-US"/>
          </a:p>
        </p:txBody>
      </p:sp>
      <p:sp>
        <p:nvSpPr>
          <p:cNvPr id="3" name="TextBox Y">
            <a:extLst>
              <a:ext uri="{FF2B5EF4-FFF2-40B4-BE49-F238E27FC236}">
                <a16:creationId xmlns:a16="http://schemas.microsoft.com/office/drawing/2014/main" id="{2E93BA92-7322-FA06-160C-F16F2BB0C83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506532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0FB3E-F7B2-E095-E328-B54FC568550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9C217D7-8AC0-1BFB-DE22-F02B7753B35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2295686-7EE8-327E-A942-37ED04AE59D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6042D7E0-2E11-FDDC-89D9-2AEB3746A87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Spray FPS50 220ml | Walmart | Assuming no other products are changing prices</a:t>
            </a:r>
          </a:p>
        </p:txBody>
      </p:sp>
      <p:sp>
        <p:nvSpPr>
          <p:cNvPr id="10" name="Title 9">
            <a:extLst>
              <a:ext uri="{FF2B5EF4-FFF2-40B4-BE49-F238E27FC236}">
                <a16:creationId xmlns:a16="http://schemas.microsoft.com/office/drawing/2014/main" id="{FC4DBEE9-3093-DBC2-1471-CB485B59A0B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35D7852-7A41-5BBA-C7DE-9C6359E9344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5299F8B-7B8B-C4F6-6F50-52AAFE5A5E3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9298C62-C0A4-97FB-58D2-93550F47C75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E8EC46A-11C1-05F3-7EA0-34E249B572D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FFDE64F-6BFC-4FD7-6786-4308B0D4FA4D}"/>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3D2A9FF6-40F1-62A3-D23B-6F4DD481C33A}"/>
              </a:ext>
            </a:extLst>
          </p:cNvPr>
          <p:cNvSpPr>
            <a:spLocks noGrp="1"/>
          </p:cNvSpPr>
          <p:nvPr>
            <p:ph type="sldNum" sz="quarter" idx="16"/>
          </p:nvPr>
        </p:nvSpPr>
        <p:spPr/>
        <p:txBody>
          <a:bodyPr/>
          <a:lstStyle/>
          <a:p>
            <a:fld id="{7B1F438D-4EAF-094E-9162-80CF3EF77236}" type="slidenum">
              <a:rPr lang="en-US" smtClean="0"/>
              <a:pPr/>
              <a:t>44</a:t>
            </a:fld>
            <a:endParaRPr lang="en-US"/>
          </a:p>
        </p:txBody>
      </p:sp>
      <p:sp>
        <p:nvSpPr>
          <p:cNvPr id="22" name="Rectangle 21">
            <a:extLst>
              <a:ext uri="{FF2B5EF4-FFF2-40B4-BE49-F238E27FC236}">
                <a16:creationId xmlns:a16="http://schemas.microsoft.com/office/drawing/2014/main" id="{B1A7F0EE-302B-4E86-0360-0D798B2AF214}"/>
              </a:ext>
            </a:extLst>
          </p:cNvPr>
          <p:cNvSpPr/>
          <p:nvPr/>
        </p:nvSpPr>
        <p:spPr>
          <a:xfrm>
            <a:off x="972000" y="1458000"/>
            <a:ext cx="226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D0F15482-124A-5EB5-4D4B-D5ECC995D5FC}"/>
              </a:ext>
            </a:extLst>
          </p:cNvPr>
          <p:cNvSpPr/>
          <p:nvPr/>
        </p:nvSpPr>
        <p:spPr>
          <a:xfrm>
            <a:off x="11980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255EE923-0B1E-AE8B-39EB-F80321EC2B15}"/>
              </a:ext>
            </a:extLst>
          </p:cNvPr>
          <p:cNvSpPr/>
          <p:nvPr/>
        </p:nvSpPr>
        <p:spPr>
          <a:xfrm>
            <a:off x="266760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5A224384-2DBD-ECEC-1877-9CACB969E5E7}"/>
              </a:ext>
            </a:extLst>
          </p:cNvPr>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7016433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153C5-CD12-3A64-2003-82D16165B03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E445653-5628-236F-E74C-8E5E9442D6F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F28CAFA-CC10-E0C3-607D-A31DF9A8890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FBD6CA4-717B-3090-11C0-2A9C7907FF1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E4E654A-D1F4-567C-1AAD-66710ABF5EB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626F38F-03CD-39D6-E736-561FED73F13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Spray FPS50 220ml (0.5%) | Up &amp; Down Pricing | Walmart | Assumes no other are changing prices</a:t>
            </a:r>
          </a:p>
        </p:txBody>
      </p:sp>
      <p:sp>
        <p:nvSpPr>
          <p:cNvPr id="4" name="Title1">
            <a:extLst>
              <a:ext uri="{FF2B5EF4-FFF2-40B4-BE49-F238E27FC236}">
                <a16:creationId xmlns:a16="http://schemas.microsoft.com/office/drawing/2014/main" id="{A9281773-8992-9669-0997-3D75C2529C1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E199FF9-F857-13A2-E843-4E0CEE573AF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0659C0A-CFD0-CFF2-A5D7-A72D40F1EAC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C4C08E4-546A-5F5D-4F75-06E6CC453A0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867C06C-6049-7748-F850-CC24E7221D0C}"/>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C47822E9-0D5C-2CB6-942D-79537BD64350}"/>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6645485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4A9C9-5115-F2FA-9A30-5296EAD922D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9DCEEF-79CA-B4BB-13C8-C315286EACC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67C05E2-C301-2726-8328-AD64777FD47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6DEADB6F-EF56-9A0E-2760-12F8B3160F2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Lotion FPS50 240ml | Walmart | Assuming no other products are changing prices</a:t>
            </a:r>
          </a:p>
        </p:txBody>
      </p:sp>
      <p:sp>
        <p:nvSpPr>
          <p:cNvPr id="10" name="Title 9">
            <a:extLst>
              <a:ext uri="{FF2B5EF4-FFF2-40B4-BE49-F238E27FC236}">
                <a16:creationId xmlns:a16="http://schemas.microsoft.com/office/drawing/2014/main" id="{905A785D-6FB9-FFCF-7214-F7C63B8EFD2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312E863-C36B-EAB7-147E-E1F37BAD983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AA99174-15BB-84AB-AA7A-35047D31222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FCB618F-C6FD-F9C4-9871-E54BC0D7924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28BE03B-46E5-CAA8-4704-6691F488D91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9BDCB6B-31FB-3269-903B-B744C362EC4F}"/>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C60B5EC4-2823-C2F6-7B88-3F5289077AB3}"/>
              </a:ext>
            </a:extLst>
          </p:cNvPr>
          <p:cNvSpPr>
            <a:spLocks noGrp="1"/>
          </p:cNvSpPr>
          <p:nvPr>
            <p:ph type="sldNum" sz="quarter" idx="16"/>
          </p:nvPr>
        </p:nvSpPr>
        <p:spPr/>
        <p:txBody>
          <a:bodyPr/>
          <a:lstStyle/>
          <a:p>
            <a:fld id="{7B1F438D-4EAF-094E-9162-80CF3EF77236}" type="slidenum">
              <a:rPr lang="en-US" smtClean="0"/>
              <a:pPr/>
              <a:t>46</a:t>
            </a:fld>
            <a:endParaRPr lang="en-US"/>
          </a:p>
        </p:txBody>
      </p:sp>
      <p:sp>
        <p:nvSpPr>
          <p:cNvPr id="22" name="Rectangle 21">
            <a:extLst>
              <a:ext uri="{FF2B5EF4-FFF2-40B4-BE49-F238E27FC236}">
                <a16:creationId xmlns:a16="http://schemas.microsoft.com/office/drawing/2014/main" id="{59A0DBCF-EF96-8ADF-E2C8-679AEB1DC6B0}"/>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956C3FDE-2E6B-5341-B79A-C701101690AD}"/>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75FAFF15-30F5-AC74-E1D6-6E856BD26F2C}"/>
              </a:ext>
            </a:extLst>
          </p:cNvPr>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280B53A1-0B33-6CE5-68DC-52987AAFBC3A}"/>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F7701789-C34A-A022-E82E-1B685D0745A0}"/>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49340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15387-CED1-AA49-2014-9939807A48A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ED2BB78-F0DF-ADD3-AB9D-2CE3430C7D6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16A6C95-2205-4AC2-FDE4-311A049F977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CBBACE5-85EA-1C02-77C3-C8FD4286B2E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DEFBB73-97C3-AA88-2FB5-723D0C10E1E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D7060B06-9541-1822-815C-2AB8E458203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Lotion FPS50 240ml (3.6%) | Up &amp; Down Pricing | Walmart | Assumes no other are changing prices</a:t>
            </a:r>
          </a:p>
        </p:txBody>
      </p:sp>
      <p:sp>
        <p:nvSpPr>
          <p:cNvPr id="4" name="Title1">
            <a:extLst>
              <a:ext uri="{FF2B5EF4-FFF2-40B4-BE49-F238E27FC236}">
                <a16:creationId xmlns:a16="http://schemas.microsoft.com/office/drawing/2014/main" id="{655DE49E-35B0-854D-4A35-01C617E3802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F9EFADB-6142-EA7B-88A6-760715ACD03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05010CD-5FB3-62BD-76C4-85AD2D3365B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D304FD2-0B1B-72AC-102E-66F1A5F923D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D07DAA9-21B7-E337-3C8A-3E74ED013108}"/>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743DCF76-AE38-33C7-8855-47E49BE7C78D}"/>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14409633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8CFF7-1131-A981-D35D-76E725ED9F1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3457C4D-A526-456A-5B30-54519E833AD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C4C6EDB1-B1E5-0448-0AB8-64535A56EF6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82E0678D-E1AB-86C5-1ED2-DAB78F87F910}"/>
              </a:ext>
            </a:extLst>
          </p:cNvPr>
          <p:cNvSpPr>
            <a:spLocks noGrp="1"/>
          </p:cNvSpPr>
          <p:nvPr>
            <p:ph type="body" sz="quarter" idx="18"/>
          </p:nvPr>
        </p:nvSpPr>
        <p:spPr>
          <a:xfrm>
            <a:off x="503238" y="774000"/>
            <a:ext cx="8136762" cy="360000"/>
          </a:xfrm>
        </p:spPr>
        <p:txBody>
          <a:bodyPr/>
          <a:lstStyle/>
          <a:p>
            <a:pPr>
              <a:defRPr sz="1200">
                <a:latin typeface="Nexa Bold (Headings)"/>
              </a:defRPr>
            </a:pPr>
            <a:r>
              <a:t>HT Sheer Touch | Price Elasticity | Walmart | Assumes no other products are changing prices</a:t>
            </a:r>
          </a:p>
        </p:txBody>
      </p:sp>
      <p:sp>
        <p:nvSpPr>
          <p:cNvPr id="18" name="Title 17">
            <a:extLst>
              <a:ext uri="{FF2B5EF4-FFF2-40B4-BE49-F238E27FC236}">
                <a16:creationId xmlns:a16="http://schemas.microsoft.com/office/drawing/2014/main" id="{3B47F97E-0079-A748-2D9B-03A9A2996A3E}"/>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36B1D66-B894-442A-CDBD-2E443F0902E5}"/>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heer Touch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heer Touch Lotion FPS3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heer Touch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374F27B2-488A-7F9E-199B-71641C91FE0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5CB0485-82BF-60E3-7959-90CE4C7458E5}"/>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154D7FC8-FF0E-D322-CE07-03C959B47576}"/>
              </a:ext>
            </a:extLst>
          </p:cNvPr>
          <p:cNvSpPr>
            <a:spLocks noGrp="1"/>
          </p:cNvSpPr>
          <p:nvPr>
            <p:ph type="sldNum" sz="quarter" idx="16"/>
          </p:nvPr>
        </p:nvSpPr>
        <p:spPr/>
        <p:txBody>
          <a:bodyPr/>
          <a:lstStyle/>
          <a:p>
            <a:fld id="{7B1F438D-4EAF-094E-9162-80CF3EF77236}" type="slidenum">
              <a:rPr lang="en-US" smtClean="0"/>
              <a:pPr/>
              <a:t>48</a:t>
            </a:fld>
            <a:endParaRPr lang="en-US"/>
          </a:p>
        </p:txBody>
      </p:sp>
      <p:sp>
        <p:nvSpPr>
          <p:cNvPr id="3" name="TextBox Y">
            <a:extLst>
              <a:ext uri="{FF2B5EF4-FFF2-40B4-BE49-F238E27FC236}">
                <a16:creationId xmlns:a16="http://schemas.microsoft.com/office/drawing/2014/main" id="{766EAF9D-24D2-2FD3-E570-0FECACFBC890}"/>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051844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4062C-90E5-7CCE-3683-97774626F2F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7FCAE70-67B7-BE6C-AF3A-C37ABEB6EA0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27ABF8E-0EC0-56A9-F00A-17F11940C0A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8BFB59D-7AB6-A2BF-2370-FF044A014C4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120ml | Walmart | Assuming no other products are changing prices</a:t>
            </a:r>
          </a:p>
        </p:txBody>
      </p:sp>
      <p:sp>
        <p:nvSpPr>
          <p:cNvPr id="10" name="Title 9">
            <a:extLst>
              <a:ext uri="{FF2B5EF4-FFF2-40B4-BE49-F238E27FC236}">
                <a16:creationId xmlns:a16="http://schemas.microsoft.com/office/drawing/2014/main" id="{77EFB4AA-0A6B-C9CB-E6B5-A0901F252CE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679FADD-7D53-01AC-89B4-19099CAC4C7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4182F4D-9C73-7891-92D6-0F00C00437C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CE0B38A-C148-0F33-F68C-0899182671A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31B8978-9865-6251-99E7-F080C38FFC7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B8C5B80-80F4-F7CE-210C-1F54AA993D9A}"/>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F75F124D-908F-AA6D-C1B0-2C9159769529}"/>
              </a:ext>
            </a:extLst>
          </p:cNvPr>
          <p:cNvSpPr>
            <a:spLocks noGrp="1"/>
          </p:cNvSpPr>
          <p:nvPr>
            <p:ph type="sldNum" sz="quarter" idx="16"/>
          </p:nvPr>
        </p:nvSpPr>
        <p:spPr/>
        <p:txBody>
          <a:bodyPr/>
          <a:lstStyle/>
          <a:p>
            <a:fld id="{7B1F438D-4EAF-094E-9162-80CF3EF77236}" type="slidenum">
              <a:rPr lang="en-US" smtClean="0"/>
              <a:pPr/>
              <a:t>49</a:t>
            </a:fld>
            <a:endParaRPr lang="en-US"/>
          </a:p>
        </p:txBody>
      </p:sp>
      <p:sp>
        <p:nvSpPr>
          <p:cNvPr id="22" name="Rectangle 21">
            <a:extLst>
              <a:ext uri="{FF2B5EF4-FFF2-40B4-BE49-F238E27FC236}">
                <a16:creationId xmlns:a16="http://schemas.microsoft.com/office/drawing/2014/main" id="{5686A317-1D86-53F8-E1E1-70947D08578E}"/>
              </a:ext>
            </a:extLst>
          </p:cNvPr>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9B1FEEB1-B4DA-661E-F63E-58812DA3FA1F}"/>
              </a:ext>
            </a:extLst>
          </p:cNvPr>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EE3ACFAA-6A8A-066A-ACBA-3B0CBAA28E39}"/>
              </a:ext>
            </a:extLst>
          </p:cNvPr>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B030F73D-31C2-2BC3-BCF6-7F3024D61A2E}"/>
              </a:ext>
            </a:extLst>
          </p:cNvPr>
          <p:cNvSpPr/>
          <p:nvPr/>
        </p:nvSpPr>
        <p:spPr>
          <a:xfrm>
            <a:off x="29502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B82EA844-780C-4C2B-5A3F-AD2F6747AC70}"/>
              </a:ext>
            </a:extLst>
          </p:cNvPr>
          <p:cNvSpPr/>
          <p:nvPr/>
        </p:nvSpPr>
        <p:spPr>
          <a:xfrm>
            <a:off x="362844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520723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E1392-F68B-46A7-7FBB-D83DC621A65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83E3CA1-504C-0D7C-477F-ECB75DF0DBC8}"/>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F13B892-0186-1038-C757-A7565D799D54}"/>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CA51B70-0BEF-7BCE-DBD6-6A9FF1CDC8A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5EDE637-4F89-19B7-A085-2032EE470E1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10EA6BF-5169-3400-FC28-6DD43AC7874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waiian Tropic (19.3%) | Up &amp; Down Pricing | Walmart | Assumes no other are changing prices</a:t>
            </a:r>
          </a:p>
        </p:txBody>
      </p:sp>
      <p:sp>
        <p:nvSpPr>
          <p:cNvPr id="4" name="Title1">
            <a:extLst>
              <a:ext uri="{FF2B5EF4-FFF2-40B4-BE49-F238E27FC236}">
                <a16:creationId xmlns:a16="http://schemas.microsoft.com/office/drawing/2014/main" id="{B0035142-F6B2-739F-C88F-DB34FB54DA4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B859D4C-41FD-FB30-0B8B-A3BFBB881F27}"/>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7BB94E2-76AA-9E41-C2F7-97A169AEB572}"/>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AC8B851A-2EFF-846C-972C-515100A7365B}"/>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581EA09E-42F0-D46E-4D37-5AF81D542975}"/>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4913844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0E744-A607-C5A4-FE53-D2C1F59278C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01A13B9-4A84-3465-F3EE-82604C41FA5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5E83752-2FCB-4246-F154-3BAE4DE8C77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12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2C9B708-C643-88CD-A4C6-22689301B1C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1F5FAFE-00B5-2ED6-3F93-DC0313EF40D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6DC81232-553B-E6F2-4F31-45A5BF0A7FD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120ml (1.4%) | Up &amp; Down Pricing | Walmart | Assumes no other are changing prices</a:t>
            </a:r>
          </a:p>
        </p:txBody>
      </p:sp>
      <p:sp>
        <p:nvSpPr>
          <p:cNvPr id="4" name="Title1">
            <a:extLst>
              <a:ext uri="{FF2B5EF4-FFF2-40B4-BE49-F238E27FC236}">
                <a16:creationId xmlns:a16="http://schemas.microsoft.com/office/drawing/2014/main" id="{6D2BD344-62E6-705F-48BC-942EABEB07B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1828D16-CD8D-33C7-B012-0186C709DCC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1F65DD4-6ED0-F05A-AD6E-55D71B06F32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539CD9F-11DA-A47A-A0E9-8DFF959891F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24E2C1B-8BFB-494A-6905-542E31B9C1EC}"/>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EB578D2-9D5B-F27B-252D-738B69B91876}"/>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8978921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8E28B-658D-68AC-A529-F7BA616B15B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1478C48-64D5-7739-AC75-4BAA68D804A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5251625-3473-CF37-6460-F96E2EF7FFA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BC892DF6-3DF8-DF18-7D66-BAF7CCAC2AD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30 240ml | Walmart | Assuming no other products are changing prices</a:t>
            </a:r>
          </a:p>
        </p:txBody>
      </p:sp>
      <p:sp>
        <p:nvSpPr>
          <p:cNvPr id="10" name="Title 9">
            <a:extLst>
              <a:ext uri="{FF2B5EF4-FFF2-40B4-BE49-F238E27FC236}">
                <a16:creationId xmlns:a16="http://schemas.microsoft.com/office/drawing/2014/main" id="{4152AB42-F5AF-8C9A-78A7-57C1A39A49A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D86508-CA08-1819-03D9-889849C5EF4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6D9AF30-709A-0A9D-0D04-BFB5A5A963F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5FC09A4-2210-416D-DE69-E6C4C8A749C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8A9ACF1-1153-09B8-2D9B-1585EE1E7C3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15C3E64-7BAC-17E7-F6B3-1D2AF3456A8A}"/>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BE3E14C-F762-5576-50E2-BC1A4A01B7E9}"/>
              </a:ext>
            </a:extLst>
          </p:cNvPr>
          <p:cNvSpPr>
            <a:spLocks noGrp="1"/>
          </p:cNvSpPr>
          <p:nvPr>
            <p:ph type="sldNum" sz="quarter" idx="16"/>
          </p:nvPr>
        </p:nvSpPr>
        <p:spPr/>
        <p:txBody>
          <a:bodyPr/>
          <a:lstStyle/>
          <a:p>
            <a:fld id="{7B1F438D-4EAF-094E-9162-80CF3EF77236}" type="slidenum">
              <a:rPr lang="en-US" smtClean="0"/>
              <a:pPr/>
              <a:t>51</a:t>
            </a:fld>
            <a:endParaRPr lang="en-US"/>
          </a:p>
        </p:txBody>
      </p:sp>
      <p:sp>
        <p:nvSpPr>
          <p:cNvPr id="22" name="Rectangle 21">
            <a:extLst>
              <a:ext uri="{FF2B5EF4-FFF2-40B4-BE49-F238E27FC236}">
                <a16:creationId xmlns:a16="http://schemas.microsoft.com/office/drawing/2014/main" id="{FDCAF40C-EB41-8594-D2F6-68FD16029B5D}"/>
              </a:ext>
            </a:extLst>
          </p:cNvPr>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02B58628-B6A4-BA41-A339-B940FF0D4251}"/>
              </a:ext>
            </a:extLst>
          </p:cNvPr>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B38BACAD-6361-7B23-1995-AE2DC4093334}"/>
              </a:ext>
            </a:extLst>
          </p:cNvPr>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A59FB5DE-5996-0687-C6CA-45C08549DEAA}"/>
              </a:ext>
            </a:extLst>
          </p:cNvPr>
          <p:cNvSpPr/>
          <p:nvPr/>
        </p:nvSpPr>
        <p:spPr>
          <a:xfrm>
            <a:off x="29502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71B0FF71-9E1B-CC1A-B936-4171C6776E93}"/>
              </a:ext>
            </a:extLst>
          </p:cNvPr>
          <p:cNvSpPr/>
          <p:nvPr/>
        </p:nvSpPr>
        <p:spPr>
          <a:xfrm>
            <a:off x="32328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382F8438-21ED-0FB3-2E9A-10979CE8EC5A}"/>
              </a:ext>
            </a:extLst>
          </p:cNvPr>
          <p:cNvSpPr/>
          <p:nvPr/>
        </p:nvSpPr>
        <p:spPr>
          <a:xfrm>
            <a:off x="35154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0F8FCCFA-AFC0-02EE-C9DF-F57F6F490F20}"/>
              </a:ext>
            </a:extLst>
          </p:cNvPr>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494822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48214-7CCC-1C4D-8B45-5DE0EE0FDE7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E0B0A98-85F1-7ABA-2F3B-1C40603F09A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9D26D17-CA1E-4B3F-169C-6BF89F74EB6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20DE0C2-9E04-73E0-91AA-4EC973034D8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8F89942-59B7-5579-A2C3-7A940940056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516037C8-38F7-636C-BE89-38CA61937B6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30 240ml (1.7%) | Up &amp; Down Pricing | Walmart | Assumes no other are changing prices</a:t>
            </a:r>
          </a:p>
        </p:txBody>
      </p:sp>
      <p:sp>
        <p:nvSpPr>
          <p:cNvPr id="4" name="Title1">
            <a:extLst>
              <a:ext uri="{FF2B5EF4-FFF2-40B4-BE49-F238E27FC236}">
                <a16:creationId xmlns:a16="http://schemas.microsoft.com/office/drawing/2014/main" id="{44C7ADDB-0CF1-4F20-9445-6ABAB23E606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E69FC3E-8CF4-6952-EABE-2B94F993F56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BCB5081-A729-31AB-1D1F-D0328D3E0F8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8AE85B8-038A-3A0C-AD84-CBFDBC4F259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9EAA572-2892-CCCE-D813-82D1EFFFA0F0}"/>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1B2D9935-D101-E97A-DB40-E17F9A3FBA11}"/>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27430098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C0EF0-3C2F-C685-42AC-181AC481855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6B09237-5AC3-ADCC-C02E-0D061C83471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DC9A6D4-8252-A810-E8B3-C4845530CCE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81EBBF4E-9454-5080-C7E6-0F4B0B48B6D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240ml | Walmart | Assuming no other products are changing prices</a:t>
            </a:r>
          </a:p>
        </p:txBody>
      </p:sp>
      <p:sp>
        <p:nvSpPr>
          <p:cNvPr id="10" name="Title 9">
            <a:extLst>
              <a:ext uri="{FF2B5EF4-FFF2-40B4-BE49-F238E27FC236}">
                <a16:creationId xmlns:a16="http://schemas.microsoft.com/office/drawing/2014/main" id="{49B094B0-ACBF-5D75-A74A-A946F2B9FA2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12F920D-F064-5F7A-59E7-6BEBB472B93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19E1CFF-6D37-A306-EB4A-53C355BA1CB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67DA40A-3D27-9738-B1EE-3EF8C6A8D1E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6A4E27C-6787-A239-A3EE-D24067AF74D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A3ADF25-335A-9E44-DD9C-85FF30DCA691}"/>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00EAAD01-CF04-90CD-7BBA-EF72B3F9B798}"/>
              </a:ext>
            </a:extLst>
          </p:cNvPr>
          <p:cNvSpPr>
            <a:spLocks noGrp="1"/>
          </p:cNvSpPr>
          <p:nvPr>
            <p:ph type="sldNum" sz="quarter" idx="16"/>
          </p:nvPr>
        </p:nvSpPr>
        <p:spPr/>
        <p:txBody>
          <a:bodyPr/>
          <a:lstStyle/>
          <a:p>
            <a:fld id="{7B1F438D-4EAF-094E-9162-80CF3EF77236}" type="slidenum">
              <a:rPr lang="en-US" smtClean="0"/>
              <a:pPr/>
              <a:t>53</a:t>
            </a:fld>
            <a:endParaRPr lang="en-US"/>
          </a:p>
        </p:txBody>
      </p:sp>
      <p:sp>
        <p:nvSpPr>
          <p:cNvPr id="22" name="Rectangle 21">
            <a:extLst>
              <a:ext uri="{FF2B5EF4-FFF2-40B4-BE49-F238E27FC236}">
                <a16:creationId xmlns:a16="http://schemas.microsoft.com/office/drawing/2014/main" id="{60788A8D-FE56-633A-3E67-990279FBB5C1}"/>
              </a:ext>
            </a:extLst>
          </p:cNvPr>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EBBB8E4E-9EFC-4B0D-D0BD-894D5A91E5F1}"/>
              </a:ext>
            </a:extLst>
          </p:cNvPr>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C61AE0F7-3453-567A-BF89-1384B71D2BF9}"/>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E2F1C263-17CF-29D9-51F0-4F994707254B}"/>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322982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6AD9-5E6F-194B-E4CC-45ED8CB7763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4B5FA0E-8B58-215F-3802-448BE38CF72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882C3C1-1350-6FA8-A699-2E78E76B5BA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C982252-F7B7-C11B-05D8-FBA5B8EEA0E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F1D101E-EBFD-6D81-73EA-DE8E63B71A2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17DDFE9F-D4D1-C7A0-5C90-52444EF5BF2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240ml (4.4%) | Up &amp; Down Pricing | Walmart | Assumes no other are changing prices</a:t>
            </a:r>
          </a:p>
        </p:txBody>
      </p:sp>
      <p:sp>
        <p:nvSpPr>
          <p:cNvPr id="4" name="Title1">
            <a:extLst>
              <a:ext uri="{FF2B5EF4-FFF2-40B4-BE49-F238E27FC236}">
                <a16:creationId xmlns:a16="http://schemas.microsoft.com/office/drawing/2014/main" id="{794E439F-DDA0-1ECB-22FB-B84F401EC94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0A58708-6851-C027-26CF-5B9064D2AF1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E99D2DD-ACE5-1811-ACF5-6426AFF2362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0AC92E8-4BD0-2E08-E348-189FFA69C42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02C857E-10D0-72A3-0B74-1ECEF1983F47}"/>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AD57D509-918B-F3EF-B205-54B65766AB3C}"/>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28780359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A60A6-F382-C3A1-D9D7-5906BC06F18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82892C0-08D8-B283-34E8-18AC6062088B}"/>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37D839B-BAED-0116-6E81-B49D282CA6A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848D4148-6CD8-C583-070F-D9404C7BEA22}"/>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 Price Elasticity | Walmart | Assumes no other products are changing prices</a:t>
            </a:r>
          </a:p>
        </p:txBody>
      </p:sp>
      <p:sp>
        <p:nvSpPr>
          <p:cNvPr id="18" name="Title 17">
            <a:extLst>
              <a:ext uri="{FF2B5EF4-FFF2-40B4-BE49-F238E27FC236}">
                <a16:creationId xmlns:a16="http://schemas.microsoft.com/office/drawing/2014/main" id="{86226781-E7CB-657F-D4D8-392D8282AEFC}"/>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56F065A-DC30-3A17-A784-B4FD2335A5E4}"/>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9B94044-DDC5-CE0F-E1FE-4B2E2776750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75F0D20-E89B-6BDE-1A4A-5FE6B100A05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D0DAE854-73EE-B928-1C83-60C9F0395951}"/>
              </a:ext>
            </a:extLst>
          </p:cNvPr>
          <p:cNvSpPr>
            <a:spLocks noGrp="1"/>
          </p:cNvSpPr>
          <p:nvPr>
            <p:ph type="sldNum" sz="quarter" idx="16"/>
          </p:nvPr>
        </p:nvSpPr>
        <p:spPr/>
        <p:txBody>
          <a:bodyPr/>
          <a:lstStyle/>
          <a:p>
            <a:fld id="{7B1F438D-4EAF-094E-9162-80CF3EF77236}" type="slidenum">
              <a:rPr lang="en-US" smtClean="0"/>
              <a:pPr/>
              <a:t>55</a:t>
            </a:fld>
            <a:endParaRPr lang="en-US"/>
          </a:p>
        </p:txBody>
      </p:sp>
      <p:sp>
        <p:nvSpPr>
          <p:cNvPr id="3" name="TextBox Y">
            <a:extLst>
              <a:ext uri="{FF2B5EF4-FFF2-40B4-BE49-F238E27FC236}">
                <a16:creationId xmlns:a16="http://schemas.microsoft.com/office/drawing/2014/main" id="{64494B9C-3BE0-3F64-6D53-288AD7815516}"/>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498213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E41234-5BF8-712C-55D7-273BFBB4BF6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69489A0-ACAD-67B8-4D4D-5FE3082957C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2593505-BDF4-3535-F54B-050A974AA71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D7AF790A-ED72-AFE1-30EF-FD9645F021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otion FPS50 180ml | Walmart | Assuming no other products are changing prices</a:t>
            </a:r>
          </a:p>
        </p:txBody>
      </p:sp>
      <p:sp>
        <p:nvSpPr>
          <p:cNvPr id="10" name="Title 9">
            <a:extLst>
              <a:ext uri="{FF2B5EF4-FFF2-40B4-BE49-F238E27FC236}">
                <a16:creationId xmlns:a16="http://schemas.microsoft.com/office/drawing/2014/main" id="{87522D6B-74FB-CC2C-3F46-833AB590EB0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310C898-C50C-3CC1-AF3F-1D7B04D61A5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2DEBB1C-8342-6589-1C22-CD8E5B78E3F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8233D28-8020-9E1F-591B-C1B6C53E037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D8E0723-E437-C2B2-8E8C-38E9BB9F9D6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2A34A08-9664-4CFB-39DD-024526FB1623}"/>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95B03536-B6C6-A6BF-6E25-5AA7DCFEB61D}"/>
              </a:ext>
            </a:extLst>
          </p:cNvPr>
          <p:cNvSpPr>
            <a:spLocks noGrp="1"/>
          </p:cNvSpPr>
          <p:nvPr>
            <p:ph type="sldNum" sz="quarter" idx="16"/>
          </p:nvPr>
        </p:nvSpPr>
        <p:spPr/>
        <p:txBody>
          <a:bodyPr/>
          <a:lstStyle/>
          <a:p>
            <a:fld id="{7B1F438D-4EAF-094E-9162-80CF3EF77236}" type="slidenum">
              <a:rPr lang="en-US" smtClean="0"/>
              <a:pPr/>
              <a:t>56</a:t>
            </a:fld>
            <a:endParaRPr lang="en-US"/>
          </a:p>
        </p:txBody>
      </p:sp>
      <p:sp>
        <p:nvSpPr>
          <p:cNvPr id="22" name="Rectangle 21">
            <a:extLst>
              <a:ext uri="{FF2B5EF4-FFF2-40B4-BE49-F238E27FC236}">
                <a16:creationId xmlns:a16="http://schemas.microsoft.com/office/drawing/2014/main" id="{4D082760-2EB5-532C-8C55-20BE4267A629}"/>
              </a:ext>
            </a:extLst>
          </p:cNvPr>
          <p:cNvSpPr/>
          <p:nvPr/>
        </p:nvSpPr>
        <p:spPr>
          <a:xfrm>
            <a:off x="9720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8DE45830-7828-41D2-992C-33F6C511A56F}"/>
              </a:ext>
            </a:extLst>
          </p:cNvPr>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a:extLst>
              <a:ext uri="{FF2B5EF4-FFF2-40B4-BE49-F238E27FC236}">
                <a16:creationId xmlns:a16="http://schemas.microsoft.com/office/drawing/2014/main" id="{686AE5E0-370A-CC23-AEA2-C8AFF4C2ABAF}"/>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383454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D24B6-C335-5FDC-E585-1FAC8BDF72D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C3FD1FB-C261-0448-097E-744FEF202FC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E29C803-64FF-F267-2459-BA08FF59EF3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2287673-9980-5E73-3837-4B37548C610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042811C-CE28-BF42-EE79-84D696F2A28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D213F358-FBB4-3102-C134-478B5E2968E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otion FPS50 180ml (1.0%) | Up &amp; Down Pricing | Walmart | Assumes no other are changing prices</a:t>
            </a:r>
          </a:p>
        </p:txBody>
      </p:sp>
      <p:sp>
        <p:nvSpPr>
          <p:cNvPr id="4" name="Title1">
            <a:extLst>
              <a:ext uri="{FF2B5EF4-FFF2-40B4-BE49-F238E27FC236}">
                <a16:creationId xmlns:a16="http://schemas.microsoft.com/office/drawing/2014/main" id="{5B77D0A5-12BA-A147-5CD9-0C588EB4A13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8279515-69CA-F70F-DDC7-03E2C30F77B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C45FC24-65EF-7402-86E1-545FA7F6191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D3699E4-E143-D22C-E7AF-95B6FCD5B6A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C40EF0B-B2F0-DD1F-D77E-B6F77B599F0B}"/>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09F38716-9F57-C513-76E8-432A0D19B241}"/>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8516122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6610D-37EF-7B44-2094-B80974695AA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3298B73-4D09-65EC-A0FD-D83C64C9A03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1A0E4E58-2D80-CDF8-D294-606B4963C20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73B71938-646D-5998-7C91-A120F5E332BC}"/>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Innovation | Price Elasticity | Walmart | Assumes no other products are changing prices</a:t>
            </a:r>
          </a:p>
        </p:txBody>
      </p:sp>
      <p:sp>
        <p:nvSpPr>
          <p:cNvPr id="18" name="Title 17">
            <a:extLst>
              <a:ext uri="{FF2B5EF4-FFF2-40B4-BE49-F238E27FC236}">
                <a16:creationId xmlns:a16="http://schemas.microsoft.com/office/drawing/2014/main" id="{F04BE76B-E6F8-2D30-B5EB-40C605C0BF1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07153DE-A5CE-A599-4B80-26C1AC0F2BB6}"/>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Serum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ilk Hydration Lip balm FPS3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ilk Hydration Glow Mist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D94DC29-E555-5A72-B01C-2E41AF2A3E56}"/>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38F36DB-FE9C-0A11-5261-D5591CF4507E}"/>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9CE7BFAB-9765-30A1-8C86-06A686BD8FD6}"/>
              </a:ext>
            </a:extLst>
          </p:cNvPr>
          <p:cNvSpPr>
            <a:spLocks noGrp="1"/>
          </p:cNvSpPr>
          <p:nvPr>
            <p:ph type="sldNum" sz="quarter" idx="16"/>
          </p:nvPr>
        </p:nvSpPr>
        <p:spPr/>
        <p:txBody>
          <a:bodyPr/>
          <a:lstStyle/>
          <a:p>
            <a:fld id="{7B1F438D-4EAF-094E-9162-80CF3EF77236}" type="slidenum">
              <a:rPr lang="en-US" smtClean="0"/>
              <a:pPr/>
              <a:t>58</a:t>
            </a:fld>
            <a:endParaRPr lang="en-US"/>
          </a:p>
        </p:txBody>
      </p:sp>
      <p:sp>
        <p:nvSpPr>
          <p:cNvPr id="3" name="TextBox Y">
            <a:extLst>
              <a:ext uri="{FF2B5EF4-FFF2-40B4-BE49-F238E27FC236}">
                <a16:creationId xmlns:a16="http://schemas.microsoft.com/office/drawing/2014/main" id="{983C47F4-AA94-F7EA-2994-5A9D444A50E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913768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80115F-A2E6-DC24-ADE1-8C36941A99C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A241276-12B5-98A2-07BA-C57CA8F4A21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C0BE70D-14F2-3447-C381-DA85A9CFF23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58E7B529-1656-89C6-E81F-C48A39E78F9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Serum FPS50 100ml | Walmart | Assuming no other products are changing prices</a:t>
            </a:r>
          </a:p>
        </p:txBody>
      </p:sp>
      <p:sp>
        <p:nvSpPr>
          <p:cNvPr id="10" name="Title 9">
            <a:extLst>
              <a:ext uri="{FF2B5EF4-FFF2-40B4-BE49-F238E27FC236}">
                <a16:creationId xmlns:a16="http://schemas.microsoft.com/office/drawing/2014/main" id="{1F6E47CC-0ADC-6534-C9EC-110DB627627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AD98DB2-A071-922A-37B9-7C0F3B92BD0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A9BFB75-11C4-23DF-817C-344ECFF6FF6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35A3DD7-76B3-62AF-311A-402C4AC907E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973FE12-2603-0E0B-5479-13678DCFB54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72F95AB-CF04-2CB8-85E8-38018927C46F}"/>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A7337C4D-9F0D-A51C-AF0D-DE36B3BAC667}"/>
              </a:ext>
            </a:extLst>
          </p:cNvPr>
          <p:cNvSpPr>
            <a:spLocks noGrp="1"/>
          </p:cNvSpPr>
          <p:nvPr>
            <p:ph type="sldNum" sz="quarter" idx="16"/>
          </p:nvPr>
        </p:nvSpPr>
        <p:spPr/>
        <p:txBody>
          <a:bodyPr/>
          <a:lstStyle/>
          <a:p>
            <a:fld id="{7B1F438D-4EAF-094E-9162-80CF3EF77236}" type="slidenum">
              <a:rPr lang="en-US" smtClean="0"/>
              <a:pPr/>
              <a:t>59</a:t>
            </a:fld>
            <a:endParaRPr lang="en-US"/>
          </a:p>
        </p:txBody>
      </p:sp>
      <p:sp>
        <p:nvSpPr>
          <p:cNvPr id="22" name="Rectangle 21">
            <a:extLst>
              <a:ext uri="{FF2B5EF4-FFF2-40B4-BE49-F238E27FC236}">
                <a16:creationId xmlns:a16="http://schemas.microsoft.com/office/drawing/2014/main" id="{3F8533EC-EA87-0503-32AD-8FBA2ECF7206}"/>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D33D31A-1407-5BA1-FFAF-C95F42D66A08}"/>
              </a:ext>
            </a:extLst>
          </p:cNvPr>
          <p:cNvSpPr/>
          <p:nvPr/>
        </p:nvSpPr>
        <p:spPr>
          <a:xfrm>
            <a:off x="204588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E9F37A51-5603-D66A-C29F-D73BC3E724D8}"/>
              </a:ext>
            </a:extLst>
          </p:cNvPr>
          <p:cNvSpPr/>
          <p:nvPr/>
        </p:nvSpPr>
        <p:spPr>
          <a:xfrm>
            <a:off x="487188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6C3A74BB-3351-0042-9326-F2A041E10ABC}"/>
              </a:ext>
            </a:extLst>
          </p:cNvPr>
          <p:cNvSpPr/>
          <p:nvPr/>
        </p:nvSpPr>
        <p:spPr>
          <a:xfrm>
            <a:off x="5945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408356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B90A8-3084-65A6-610E-B495CB44882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A06323D-B36F-3DF4-6BCC-B8563E0E9503}"/>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7363688-FDA3-3E2D-97D2-EC9DCFE89744}"/>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167BDD1-D9D8-9B0B-600B-3989CEE117E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C5958D9-599C-F225-6283-22F66F8F2ED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594216D-45C7-227D-2340-B0AFFCEF8F6B}"/>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auty Care (0.4%) | Up &amp; Down Pricing | Walmart | Assumes no other are changing prices</a:t>
            </a:r>
          </a:p>
        </p:txBody>
      </p:sp>
      <p:sp>
        <p:nvSpPr>
          <p:cNvPr id="4" name="Title1">
            <a:extLst>
              <a:ext uri="{FF2B5EF4-FFF2-40B4-BE49-F238E27FC236}">
                <a16:creationId xmlns:a16="http://schemas.microsoft.com/office/drawing/2014/main" id="{E8A32A2B-0598-0407-0CAA-5EEDD05CC6F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DD52E8D-086F-5976-FA25-997C70A6D362}"/>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74A7447-AF5D-F5E3-84EE-78F45DBC291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63F9664-C503-D4D1-0ECB-90966C7DE2B7}"/>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BB6FD1D2-135A-FAD8-DF4E-36550812A88B}"/>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5694365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C6961C-E9F4-1A66-B871-C8BF4A3D7F0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30F3034-24EF-E2A5-20E7-C9D33B99C01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3DFCCF4-3045-06EA-DFD8-B1738447832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77687A7-68C9-BBB5-A188-1D57B4B7321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FCDAA75-C6BC-4CCF-C574-314D2F1963B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F43C5F87-6C60-76A1-0929-8581D0075D4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Serum FPS50 100ml (0.0%) | Up &amp; Down Pricing | Walmart | Assumes no other are changing prices</a:t>
            </a:r>
          </a:p>
        </p:txBody>
      </p:sp>
      <p:sp>
        <p:nvSpPr>
          <p:cNvPr id="4" name="Title1">
            <a:extLst>
              <a:ext uri="{FF2B5EF4-FFF2-40B4-BE49-F238E27FC236}">
                <a16:creationId xmlns:a16="http://schemas.microsoft.com/office/drawing/2014/main" id="{84C96E70-79A4-4927-EFF1-B48FC2EECA3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07B6414-88C7-92ED-AC7A-C0F92B9251C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DFA19B3-7CB8-12F0-6004-B763C5CE6AC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F4D7554-99BE-CE79-7B9C-6550EE26C08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330C241-0445-F78D-B559-38CDF26D4797}"/>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9598CD7B-EBE8-E038-D2DE-F406F53FDAED}"/>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7885150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13A168-730A-46BC-EC3A-DF601734996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A0ECC82-71FD-A406-B136-EFF6C2D4A11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8C3E9AD-289A-75C9-E583-1A438295FB9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D8DEC325-519F-008F-D949-4B2A2F35450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ip balm FPS30 10g | Walmart | Assuming no other products are changing prices</a:t>
            </a:r>
          </a:p>
        </p:txBody>
      </p:sp>
      <p:sp>
        <p:nvSpPr>
          <p:cNvPr id="10" name="Title 9">
            <a:extLst>
              <a:ext uri="{FF2B5EF4-FFF2-40B4-BE49-F238E27FC236}">
                <a16:creationId xmlns:a16="http://schemas.microsoft.com/office/drawing/2014/main" id="{D1CB8FE5-352F-7D6A-6E0B-803CFB06A88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3BA52-9A0D-DF49-AB7E-02F15D07CDC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03A12F1-AEA8-C5B9-4EB8-D8BB9A8261E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E8D77CF-5557-544C-1632-EFD95C74149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8611BE1-4ADC-9C7E-FBF3-867433CFF83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684B6F9-6CDF-8573-EBD3-28E582A9246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6F1409D3-3DF5-364C-1A9A-678A7090CA06}"/>
              </a:ext>
            </a:extLst>
          </p:cNvPr>
          <p:cNvSpPr>
            <a:spLocks noGrp="1"/>
          </p:cNvSpPr>
          <p:nvPr>
            <p:ph type="sldNum" sz="quarter" idx="16"/>
          </p:nvPr>
        </p:nvSpPr>
        <p:spPr/>
        <p:txBody>
          <a:bodyPr/>
          <a:lstStyle/>
          <a:p>
            <a:fld id="{7B1F438D-4EAF-094E-9162-80CF3EF77236}" type="slidenum">
              <a:rPr lang="en-US" smtClean="0"/>
              <a:pPr/>
              <a:t>61</a:t>
            </a:fld>
            <a:endParaRPr lang="en-US"/>
          </a:p>
        </p:txBody>
      </p:sp>
      <p:sp>
        <p:nvSpPr>
          <p:cNvPr id="22" name="Rectangle 21">
            <a:extLst>
              <a:ext uri="{FF2B5EF4-FFF2-40B4-BE49-F238E27FC236}">
                <a16:creationId xmlns:a16="http://schemas.microsoft.com/office/drawing/2014/main" id="{13BE6AA4-37EC-5ADE-9FDC-ED9F8D230E56}"/>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7100747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895EA-D2C1-07D7-CE10-8AEF4EC37C9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4D9C467-3DFB-F9F0-BD49-4970424E4E2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A6E60C4-92A3-6AED-C8F6-8EC7703F990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L'Oréal Paris UV DEFENDER Colored Fluid FPS50+ 4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981CCED-3837-7DA0-2DA1-B80D6F22A2C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F013FA1-6E9E-2FC6-CB5D-AE901D22A10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87253D2-A880-2BE2-82E7-FFED000BFBE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ip balm FPS30 10g (0.0%) | Up &amp; Down Pricing | Walmart | Assumes no other are changing prices</a:t>
            </a:r>
          </a:p>
        </p:txBody>
      </p:sp>
      <p:sp>
        <p:nvSpPr>
          <p:cNvPr id="4" name="Title1">
            <a:extLst>
              <a:ext uri="{FF2B5EF4-FFF2-40B4-BE49-F238E27FC236}">
                <a16:creationId xmlns:a16="http://schemas.microsoft.com/office/drawing/2014/main" id="{A141EADE-DA0C-58EA-9FDE-C06F9F24311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3B37DB6-4FC3-34B6-CAA2-A58EF2EEBA5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10570D8-74A7-AB39-4ABF-DAB0BB9FA84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F5AA288-3F68-EDF6-887A-EF678F6ED99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8747CD2-390A-0A43-272D-671F6A81490A}"/>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0497E857-4C17-93EA-466C-2B00FC916055}"/>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28697794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E51AF7-5FE9-26CF-0740-448ADEAE541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D8ECA0F-1004-18DA-93B8-66FC92ED16C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19ACB84-B5C2-E486-2B90-B36BB0FA89D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DD9669A-8831-10F9-EAFD-AB30CA1CA23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Glow Mist FPS50+ 100ml | Walmart | Assuming no other products are changing prices</a:t>
            </a:r>
          </a:p>
        </p:txBody>
      </p:sp>
      <p:sp>
        <p:nvSpPr>
          <p:cNvPr id="10" name="Title 9">
            <a:extLst>
              <a:ext uri="{FF2B5EF4-FFF2-40B4-BE49-F238E27FC236}">
                <a16:creationId xmlns:a16="http://schemas.microsoft.com/office/drawing/2014/main" id="{08274AD0-6C07-0DDE-2B6C-B586D447789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4854425-EE5A-03D8-B782-37FBF9C8EC6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B62D4CA-6630-2AAA-61A6-EF0B5750F07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6B74BF9-AD30-5E7C-D146-2EFBD230CEC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A211EF4-523E-A430-A5E7-529604984AE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03B0732-97F0-E82A-7BC0-3C33EE838613}"/>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427D0AA4-746D-1BF0-E249-0D050E9D2050}"/>
              </a:ext>
            </a:extLst>
          </p:cNvPr>
          <p:cNvSpPr>
            <a:spLocks noGrp="1"/>
          </p:cNvSpPr>
          <p:nvPr>
            <p:ph type="sldNum" sz="quarter" idx="16"/>
          </p:nvPr>
        </p:nvSpPr>
        <p:spPr/>
        <p:txBody>
          <a:bodyPr/>
          <a:lstStyle/>
          <a:p>
            <a:fld id="{7B1F438D-4EAF-094E-9162-80CF3EF77236}" type="slidenum">
              <a:rPr lang="en-US" smtClean="0"/>
              <a:pPr/>
              <a:t>63</a:t>
            </a:fld>
            <a:endParaRPr lang="en-US"/>
          </a:p>
        </p:txBody>
      </p:sp>
      <p:sp>
        <p:nvSpPr>
          <p:cNvPr id="22" name="Rectangle 21">
            <a:extLst>
              <a:ext uri="{FF2B5EF4-FFF2-40B4-BE49-F238E27FC236}">
                <a16:creationId xmlns:a16="http://schemas.microsoft.com/office/drawing/2014/main" id="{212F991A-18FD-A9A0-9037-3155B7C013FE}"/>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344B0D91-06B5-B212-9743-7F490E3AC0A6}"/>
              </a:ext>
            </a:extLst>
          </p:cNvPr>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08E7C0DF-49EF-0A65-A3E3-1889C24BF012}"/>
              </a:ext>
            </a:extLst>
          </p:cNvPr>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7C46F844-2A1A-8A88-0CDE-A7F88A64BD4C}"/>
              </a:ext>
            </a:extLst>
          </p:cNvPr>
          <p:cNvSpPr/>
          <p:nvPr/>
        </p:nvSpPr>
        <p:spPr>
          <a:xfrm>
            <a:off x="436320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4E8B1AA1-12AC-5C55-5DAD-5219BA53BC6E}"/>
              </a:ext>
            </a:extLst>
          </p:cNvPr>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3334089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53066-DFEB-13F1-29ED-43A87FD8073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756B774-B5D9-EBD9-1C15-E72E70E525C7}"/>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E9F5CBD-81A8-5151-1EFF-EDB96AFD3C3F}"/>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FA2AFB6-25B9-8D01-FA91-18AFEA6FD69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C2FDAB2-99F8-CFB8-BB9D-95D15ABC779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A87DD8B2-3963-43B1-8021-286F3A3D63D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Glow Mist FPS50+ 100ml (0.0%) | Up &amp; Down Pricing | Walmart | Assumes no other are changing prices</a:t>
            </a:r>
          </a:p>
        </p:txBody>
      </p:sp>
      <p:sp>
        <p:nvSpPr>
          <p:cNvPr id="4" name="Title1">
            <a:extLst>
              <a:ext uri="{FF2B5EF4-FFF2-40B4-BE49-F238E27FC236}">
                <a16:creationId xmlns:a16="http://schemas.microsoft.com/office/drawing/2014/main" id="{F1012585-08A6-3DAA-CC7A-AB4842B23BF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CC0E34B-D423-7101-548D-F551630B21A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7020E5E-0A39-998D-09CD-9EA74B97FE2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1C28393-D4FF-51F0-A7DD-D94AF14D47E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9CCE166-7B90-B7CD-3B15-AEF9A5941858}"/>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9197F846-E828-D8A0-4B69-22183ABEEDE5}"/>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16469594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1E584-7BFB-53B2-4C25-5009532421D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086D9AC-B616-7960-F82D-7AD8F77009A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15EEA9F-37EB-23F4-89DF-8991CA78DD6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1646DD0B-6426-D0B7-3B98-A226451790CA}"/>
              </a:ext>
            </a:extLst>
          </p:cNvPr>
          <p:cNvSpPr>
            <a:spLocks noGrp="1"/>
          </p:cNvSpPr>
          <p:nvPr>
            <p:ph type="body" sz="quarter" idx="18"/>
          </p:nvPr>
        </p:nvSpPr>
        <p:spPr>
          <a:xfrm>
            <a:off x="503238" y="774000"/>
            <a:ext cx="8136762" cy="360000"/>
          </a:xfrm>
        </p:spPr>
        <p:txBody>
          <a:bodyPr/>
          <a:lstStyle/>
          <a:p>
            <a:pPr>
              <a:defRPr sz="1200">
                <a:latin typeface="Nexa Bold (Headings)"/>
              </a:defRPr>
            </a:pPr>
            <a:r>
              <a:t>HT Argan Spray | Price Elasticity | Walmart | Assumes no other products are changing prices</a:t>
            </a:r>
          </a:p>
        </p:txBody>
      </p:sp>
      <p:sp>
        <p:nvSpPr>
          <p:cNvPr id="18" name="Title 17">
            <a:extLst>
              <a:ext uri="{FF2B5EF4-FFF2-40B4-BE49-F238E27FC236}">
                <a16:creationId xmlns:a16="http://schemas.microsoft.com/office/drawing/2014/main" id="{8766CCAE-5C7A-E1A4-1213-EC881296743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B30D15B-3778-7E88-6B01-C60FF3B088C5}"/>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Argan Spray FPS15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9982B38-7389-E607-2CD1-C75393FF95F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C0CC341B-1894-CBC0-3CDA-770610D820BF}"/>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9D29A7E1-AA88-A0C5-6172-0C3E22F27090}"/>
              </a:ext>
            </a:extLst>
          </p:cNvPr>
          <p:cNvSpPr>
            <a:spLocks noGrp="1"/>
          </p:cNvSpPr>
          <p:nvPr>
            <p:ph type="sldNum" sz="quarter" idx="16"/>
          </p:nvPr>
        </p:nvSpPr>
        <p:spPr/>
        <p:txBody>
          <a:bodyPr/>
          <a:lstStyle/>
          <a:p>
            <a:fld id="{7B1F438D-4EAF-094E-9162-80CF3EF77236}" type="slidenum">
              <a:rPr lang="en-US" smtClean="0"/>
              <a:pPr/>
              <a:t>65</a:t>
            </a:fld>
            <a:endParaRPr lang="en-US"/>
          </a:p>
        </p:txBody>
      </p:sp>
      <p:sp>
        <p:nvSpPr>
          <p:cNvPr id="3" name="TextBox Y">
            <a:extLst>
              <a:ext uri="{FF2B5EF4-FFF2-40B4-BE49-F238E27FC236}">
                <a16:creationId xmlns:a16="http://schemas.microsoft.com/office/drawing/2014/main" id="{BCF6C35F-DA41-7400-EE98-6CDD0C3B2B9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081768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6761E-6575-9846-78DA-E97FD9175AE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D013765-E7F9-DD64-DDEF-925100D3B88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A8E9D4D-EA0E-8A40-61B3-84AE40CE706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3B4B7615-5764-4A62-4BF1-13E24B70EEE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Argan Spray FPS15 220ml | Walmart | Assuming no other products are changing prices</a:t>
            </a:r>
          </a:p>
        </p:txBody>
      </p:sp>
      <p:sp>
        <p:nvSpPr>
          <p:cNvPr id="10" name="Title 9">
            <a:extLst>
              <a:ext uri="{FF2B5EF4-FFF2-40B4-BE49-F238E27FC236}">
                <a16:creationId xmlns:a16="http://schemas.microsoft.com/office/drawing/2014/main" id="{A296D63E-1027-AAFC-7C40-BBBEF73BF41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4140FD8-A2E2-5267-3F77-1D6EF3387DC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BE12436-B886-2915-D7F7-C22A0AEF7FA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EE592F5-3E65-BCFD-DD42-A7DF37EC9BE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00B4F60-35AD-B3BF-C095-1691EBC6F10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4A07AC5-8460-35D0-2710-1712E6BB2BDA}"/>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CC6AACDE-9CF1-ABEA-81C3-EE4FB70C4009}"/>
              </a:ext>
            </a:extLst>
          </p:cNvPr>
          <p:cNvSpPr>
            <a:spLocks noGrp="1"/>
          </p:cNvSpPr>
          <p:nvPr>
            <p:ph type="sldNum" sz="quarter" idx="16"/>
          </p:nvPr>
        </p:nvSpPr>
        <p:spPr/>
        <p:txBody>
          <a:bodyPr/>
          <a:lstStyle/>
          <a:p>
            <a:fld id="{7B1F438D-4EAF-094E-9162-80CF3EF77236}" type="slidenum">
              <a:rPr lang="en-US" smtClean="0"/>
              <a:pPr/>
              <a:t>66</a:t>
            </a:fld>
            <a:endParaRPr lang="en-US"/>
          </a:p>
        </p:txBody>
      </p:sp>
      <p:sp>
        <p:nvSpPr>
          <p:cNvPr id="22" name="Rectangle 21">
            <a:extLst>
              <a:ext uri="{FF2B5EF4-FFF2-40B4-BE49-F238E27FC236}">
                <a16:creationId xmlns:a16="http://schemas.microsoft.com/office/drawing/2014/main" id="{08BE8E01-64DB-E2D9-A460-8C0AC75F2BB1}"/>
              </a:ext>
            </a:extLst>
          </p:cNvPr>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F87111E-65B7-BA3B-3C5A-7D53D9F23D2D}"/>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49C4C502-7D3B-DA53-2D3C-55C60705B2BC}"/>
              </a:ext>
            </a:extLst>
          </p:cNvPr>
          <p:cNvSpPr/>
          <p:nvPr/>
        </p:nvSpPr>
        <p:spPr>
          <a:xfrm>
            <a:off x="20458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6A7EE995-7BE9-F4C6-3F86-9263BB247C75}"/>
              </a:ext>
            </a:extLst>
          </p:cNvPr>
          <p:cNvSpPr/>
          <p:nvPr/>
        </p:nvSpPr>
        <p:spPr>
          <a:xfrm>
            <a:off x="28371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5B15744A-BF64-552B-8BF8-2AC87A992730}"/>
              </a:ext>
            </a:extLst>
          </p:cNvPr>
          <p:cNvSpPr/>
          <p:nvPr/>
        </p:nvSpPr>
        <p:spPr>
          <a:xfrm>
            <a:off x="340236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C3C44128-FF7D-EE85-1877-ECF57C784C3F}"/>
              </a:ext>
            </a:extLst>
          </p:cNvPr>
          <p:cNvSpPr/>
          <p:nvPr/>
        </p:nvSpPr>
        <p:spPr>
          <a:xfrm>
            <a:off x="391104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8809091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52FC4-C081-88BA-C98F-530A3A42EF7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FD6D1B0-6F49-CB4D-3026-CD66FC53315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E1D5C52-27AD-50C2-2622-36E2A177D13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4BD9C71-398F-8181-DDB8-53E0CDA2464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2E37729-6839-09B7-42A5-B09294B32CA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55B547D-3044-450E-C236-8CDFF70E786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Argan Spray FPS15 220ml (0.3%) | Up &amp; Down Pricing | Walmart | Assumes no other are changing prices</a:t>
            </a:r>
          </a:p>
        </p:txBody>
      </p:sp>
      <p:sp>
        <p:nvSpPr>
          <p:cNvPr id="4" name="Title1">
            <a:extLst>
              <a:ext uri="{FF2B5EF4-FFF2-40B4-BE49-F238E27FC236}">
                <a16:creationId xmlns:a16="http://schemas.microsoft.com/office/drawing/2014/main" id="{AF6F35EF-C41B-EB1F-F7DC-5B9E70F2454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E764546-481F-3694-F2CB-B79E80191B7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C31EE30-492A-F197-093C-ACBF45A8C8B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0029CF1-63C3-038A-B3BD-771BB738F17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F891A79-E559-CD0B-8B35-74D060C58C99}"/>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9A850467-B0C1-1779-A092-53649A1B512F}"/>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9466458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85E5C-1302-C2AB-3715-FE89B7026A1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F6F4199-9836-A862-2865-AE061BA3AA96}"/>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F565D7F-8E9A-7B85-8B6A-FD402641BE3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456130C3-0BE1-6979-798E-A8A4C235B164}"/>
              </a:ext>
            </a:extLst>
          </p:cNvPr>
          <p:cNvSpPr>
            <a:spLocks noGrp="1"/>
          </p:cNvSpPr>
          <p:nvPr>
            <p:ph type="body" sz="quarter" idx="18"/>
          </p:nvPr>
        </p:nvSpPr>
        <p:spPr>
          <a:xfrm>
            <a:off x="503238" y="774000"/>
            <a:ext cx="8136762" cy="360000"/>
          </a:xfrm>
        </p:spPr>
        <p:txBody>
          <a:bodyPr/>
          <a:lstStyle/>
          <a:p>
            <a:pPr>
              <a:defRPr sz="1200">
                <a:latin typeface="Nexa Bold (Headings)"/>
              </a:defRPr>
            </a:pPr>
            <a:r>
              <a:t>HT Brush | Price Elasticity | Walmart | Assumes no other products are changing prices</a:t>
            </a:r>
          </a:p>
        </p:txBody>
      </p:sp>
      <p:sp>
        <p:nvSpPr>
          <p:cNvPr id="18" name="Title 17">
            <a:extLst>
              <a:ext uri="{FF2B5EF4-FFF2-40B4-BE49-F238E27FC236}">
                <a16:creationId xmlns:a16="http://schemas.microsoft.com/office/drawing/2014/main" id="{F95AF4A2-B63F-C062-A313-BAF1CBD70962}"/>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EDF19E8-CFC3-7676-037D-BADCB273C640}"/>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Mineral Brush FPS30 4.25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9AA308B-E46C-BDEF-6687-A9EE1F76DE2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22D9165-E00C-27B7-D2B0-1A5F08FA439D}"/>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DF87254D-D6BC-2D82-2BCF-481FDC89E599}"/>
              </a:ext>
            </a:extLst>
          </p:cNvPr>
          <p:cNvSpPr>
            <a:spLocks noGrp="1"/>
          </p:cNvSpPr>
          <p:nvPr>
            <p:ph type="sldNum" sz="quarter" idx="16"/>
          </p:nvPr>
        </p:nvSpPr>
        <p:spPr/>
        <p:txBody>
          <a:bodyPr/>
          <a:lstStyle/>
          <a:p>
            <a:fld id="{7B1F438D-4EAF-094E-9162-80CF3EF77236}" type="slidenum">
              <a:rPr lang="en-US" smtClean="0"/>
              <a:pPr/>
              <a:t>68</a:t>
            </a:fld>
            <a:endParaRPr lang="en-US"/>
          </a:p>
        </p:txBody>
      </p:sp>
      <p:sp>
        <p:nvSpPr>
          <p:cNvPr id="3" name="TextBox Y">
            <a:extLst>
              <a:ext uri="{FF2B5EF4-FFF2-40B4-BE49-F238E27FC236}">
                <a16:creationId xmlns:a16="http://schemas.microsoft.com/office/drawing/2014/main" id="{F570C7A5-E148-6266-9079-5699D0E7EA7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540784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50C95-2E5B-B023-028E-59BDB56E561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407DB4A-E6D7-7AA5-2809-C1343895205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41725BF-C62A-C985-E999-08490D70CE3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F4963712-F9F8-ABAB-2ED4-5288A1642F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Mineral Brush FPS30 4.25g | Walmart | Assuming no other products are changing prices</a:t>
            </a:r>
          </a:p>
        </p:txBody>
      </p:sp>
      <p:sp>
        <p:nvSpPr>
          <p:cNvPr id="10" name="Title 9">
            <a:extLst>
              <a:ext uri="{FF2B5EF4-FFF2-40B4-BE49-F238E27FC236}">
                <a16:creationId xmlns:a16="http://schemas.microsoft.com/office/drawing/2014/main" id="{27C76FBC-E7DE-FD54-5FF0-3D46B55C28F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1A9D5D4-40E6-43E7-FF1D-EAE90354A30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7A48860-EFE0-DE34-C324-09E4A4F40F8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B920A68-9361-D194-8CF8-1C40FC48525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1C3B01D-E732-208B-AEA2-9A01CA23C43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43A5D04-B6D2-FD85-3179-81DAE3D8CB63}"/>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57FCCE0D-ADF0-956B-40BE-C418807E0CFF}"/>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22" name="Rectangle 21">
            <a:extLst>
              <a:ext uri="{FF2B5EF4-FFF2-40B4-BE49-F238E27FC236}">
                <a16:creationId xmlns:a16="http://schemas.microsoft.com/office/drawing/2014/main" id="{CB8FA22E-183A-A79B-7835-2BCA2AC9C1D0}"/>
              </a:ext>
            </a:extLst>
          </p:cNvPr>
          <p:cNvSpPr/>
          <p:nvPr/>
        </p:nvSpPr>
        <p:spPr>
          <a:xfrm>
            <a:off x="972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243569D-69DD-376A-6E2F-F91BF7F1A538}"/>
              </a:ext>
            </a:extLst>
          </p:cNvPr>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581D32BE-354D-C99F-7136-24FAF46C532A}"/>
              </a:ext>
            </a:extLst>
          </p:cNvPr>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ADA5ED17-A7EC-D38E-892A-5505F2F602FE}"/>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386797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ACFBCB-75FF-E038-1E20-3B8C236C4CE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143F4F0-AD72-4DBF-D9B8-7A6117ADAFC0}"/>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8EB1C3A-4EBB-1419-4682-EC51FE26ABF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B8F4C7C-19FE-B69F-FF48-B983246E749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6980AFE-6B21-B6BA-A514-C085F6252E4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5577DAE-691E-D062-A38E-319FA04BB3DC}"/>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anana Boat (15.9%) | Up &amp; Down Pricing | Walmart | Assumes no other are changing prices</a:t>
            </a:r>
          </a:p>
        </p:txBody>
      </p:sp>
      <p:sp>
        <p:nvSpPr>
          <p:cNvPr id="4" name="Title1">
            <a:extLst>
              <a:ext uri="{FF2B5EF4-FFF2-40B4-BE49-F238E27FC236}">
                <a16:creationId xmlns:a16="http://schemas.microsoft.com/office/drawing/2014/main" id="{B5142EDF-F8A2-EB84-99AD-36698C7C66A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AEF4231-1DD2-C626-5349-76FCE0C8AE0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B3FD272-D82E-42A5-8550-471F8889104E}"/>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5EDA04B-4C49-9E84-5170-1D3FBCD0D57C}"/>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798A8213-0B12-55C7-8149-F619D934B25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19794356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4EE80-DB0E-9674-1C99-7AB684E4B7F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932B7A1-DB1F-4682-72B4-B110E83BEBD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5F86D2D-1F74-D14F-E005-57750E34C85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C11B0C0-7E82-217D-BB2D-E37FBC7182B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A61A2FB-AF61-E8A6-7351-3E45595C5BC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DC939E3F-1F26-0A8B-7B17-A1136C8CEB5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Mineral Brush FPS30 4.25g (0.1%) | Up &amp; Down Pricing | Walmart | Assumes no other are changing prices</a:t>
            </a:r>
          </a:p>
        </p:txBody>
      </p:sp>
      <p:sp>
        <p:nvSpPr>
          <p:cNvPr id="4" name="Title1">
            <a:extLst>
              <a:ext uri="{FF2B5EF4-FFF2-40B4-BE49-F238E27FC236}">
                <a16:creationId xmlns:a16="http://schemas.microsoft.com/office/drawing/2014/main" id="{6C3A676F-7C62-1F81-953A-3585C7F373E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7014468-F049-A59F-CBE7-71B3C988EE4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10D7443-2322-4814-E66E-B28D8823FFE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B55FF14-A05E-863E-0E42-62E5415EF0E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8B18167-0BC5-B9F7-77A7-6ACCFE31AB1C}"/>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FC850DBE-6FEA-CE79-D901-F11B353436C9}"/>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26263631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60361-2565-B303-4048-AD7D5317FD3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B9EDB7B-075B-85E7-E13F-2A791919D70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D099B55-90A4-AD5D-9CE4-25AF3F31CAC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ED357DCF-8B4E-27AA-A58A-43E473895F6E}"/>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 Price Elasticity | Walmart | Assumes no other products are changing prices</a:t>
            </a:r>
          </a:p>
        </p:txBody>
      </p:sp>
      <p:sp>
        <p:nvSpPr>
          <p:cNvPr id="18" name="Title 17">
            <a:extLst>
              <a:ext uri="{FF2B5EF4-FFF2-40B4-BE49-F238E27FC236}">
                <a16:creationId xmlns:a16="http://schemas.microsoft.com/office/drawing/2014/main" id="{B97D697D-D4E2-EC8B-2517-F1E0DA27DF4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F565D10-F56A-3045-A4E1-BF7D78B09DE9}"/>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Antioxidant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Matte Face Lotion FPS3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Sensitive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A64F1BB-0063-B088-8C0F-197607208E0F}"/>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B929580-5316-751B-362C-0714463851F3}"/>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F7CCDD16-2FCE-283C-4209-0F337B634EF3}"/>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FF67D543-DC5B-9F9E-334A-5F1B4662000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927168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06BE4-442E-BB9A-2868-B26BE83B1E7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A6A6CB3-53F2-3C70-695E-E1B6292A481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7335D8E-F57B-0C68-0D82-FBE3C5F91AD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7345F8DE-AFED-D61F-E7B0-722D73246B5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Antioxidant Face Lotion FPS50+ 50ml | Walmart | Assuming no other products are changing prices</a:t>
            </a:r>
          </a:p>
        </p:txBody>
      </p:sp>
      <p:sp>
        <p:nvSpPr>
          <p:cNvPr id="10" name="Title 9">
            <a:extLst>
              <a:ext uri="{FF2B5EF4-FFF2-40B4-BE49-F238E27FC236}">
                <a16:creationId xmlns:a16="http://schemas.microsoft.com/office/drawing/2014/main" id="{DB41A9F1-21AD-2E83-D933-A54D039883B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7EC33FE-872F-B0D3-D1F2-28690560265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C2D95FC-5C99-5F19-B0D6-3938076C581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D337899-A089-6500-B268-9D2E6C13984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8CE84CC-B430-9D71-A82E-7148311C028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CFAB954-890F-D208-4C9C-F3A4DFB7D7B5}"/>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72D52F73-E949-390A-EF08-759275C53A1D}"/>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22" name="Rectangle 21">
            <a:extLst>
              <a:ext uri="{FF2B5EF4-FFF2-40B4-BE49-F238E27FC236}">
                <a16:creationId xmlns:a16="http://schemas.microsoft.com/office/drawing/2014/main" id="{EFF1E273-01DE-98D9-19CF-3B6C59605790}"/>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913E77B-0283-2BB8-EECB-4DF7BC836087}"/>
              </a:ext>
            </a:extLst>
          </p:cNvPr>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4F3AF479-F3F8-0A0B-C7B2-0CEA46B0C1A5}"/>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1958B315-CA8A-49E7-6985-13FBE13C502C}"/>
              </a:ext>
            </a:extLst>
          </p:cNvPr>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9C94CD53-078B-4797-D439-CB26B586E2FC}"/>
              </a:ext>
            </a:extLst>
          </p:cNvPr>
          <p:cNvSpPr/>
          <p:nvPr/>
        </p:nvSpPr>
        <p:spPr>
          <a:xfrm>
            <a:off x="340236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0B473B45-B029-B949-90F2-7E1C645D2C67}"/>
              </a:ext>
            </a:extLst>
          </p:cNvPr>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54C27A53-D6E4-0AF4-6490-3B368D5804EC}"/>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760576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B9140-18D0-6877-CB08-2127158A44F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FB4D776-3A90-3A71-9CCC-6EBDF2AA3047}"/>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B8E2947-D21F-6FCE-FC3F-189B560867D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413A68F-EFB5-6BE5-1336-C33B6079954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970F2FC-2D7E-6430-B47F-61C03254719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0CFC3DA-C62A-7777-AFC9-F19323E5299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Antioxidant Face Lotion FPS50+ 50ml (0.2%) | Up &amp; Down Pricing | Walmart | Assumes no other are changing prices</a:t>
            </a:r>
          </a:p>
        </p:txBody>
      </p:sp>
      <p:sp>
        <p:nvSpPr>
          <p:cNvPr id="4" name="Title1">
            <a:extLst>
              <a:ext uri="{FF2B5EF4-FFF2-40B4-BE49-F238E27FC236}">
                <a16:creationId xmlns:a16="http://schemas.microsoft.com/office/drawing/2014/main" id="{21294683-11AB-1400-C438-8F85E90750C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AADF14E-F53F-934C-D754-6D8997DB78F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78F7889-0543-4446-974B-C4A84639DBE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66BB93C-6083-635F-0A53-A8D55992F32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5F37568-4148-860B-33C3-03291A30A028}"/>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AA43344F-DE15-90C9-AB4E-FE87CE1580EC}"/>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4528537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83911-966B-D1B4-40A1-A62FA5D9C42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AE0CE28-2214-3887-3F8B-671786E01E7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EA393A3-7497-C233-166F-A89D109557C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ABDB44B-6D05-A0BC-E5D4-9C5DF156EA7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Matte Face Lotion FPS30 50ml | Walmart | Assuming no other products are changing prices</a:t>
            </a:r>
          </a:p>
        </p:txBody>
      </p:sp>
      <p:sp>
        <p:nvSpPr>
          <p:cNvPr id="10" name="Title 9">
            <a:extLst>
              <a:ext uri="{FF2B5EF4-FFF2-40B4-BE49-F238E27FC236}">
                <a16:creationId xmlns:a16="http://schemas.microsoft.com/office/drawing/2014/main" id="{644CB51D-7567-3701-3A65-BB06D418BF9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F7FF5E4-8A35-12FB-C414-253B6732884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E0C1A09-E167-6D6E-2174-1FA5F6E46E1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AA24EB0-7E0C-EE90-380E-AEA231C1AF4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C88F34F-A9CC-B293-3F81-0CF7AEC5504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4D9EC33-9A18-A018-8712-0381232CC258}"/>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76CF8EB7-0651-5348-5230-683D0AF55E19}"/>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22" name="Rectangle 21">
            <a:extLst>
              <a:ext uri="{FF2B5EF4-FFF2-40B4-BE49-F238E27FC236}">
                <a16:creationId xmlns:a16="http://schemas.microsoft.com/office/drawing/2014/main" id="{857DDA82-3031-C3AB-54AC-3F4A7AFB6346}"/>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CAF4C674-EDC1-5E16-F974-303287AA4FE0}"/>
              </a:ext>
            </a:extLst>
          </p:cNvPr>
          <p:cNvSpPr/>
          <p:nvPr/>
        </p:nvSpPr>
        <p:spPr>
          <a:xfrm>
            <a:off x="176328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C3CE51AC-4E3D-854D-5DA2-18376D65F064}"/>
              </a:ext>
            </a:extLst>
          </p:cNvPr>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C67AB63A-C96D-807F-E348-15A936DE0D1F}"/>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595771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41C7B-CB1F-0CC4-C734-025FF9D2AC9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D97338B-A04F-5E2A-B256-614B0B11F24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ECD3918-6885-C662-3BAD-8CFE1ECC403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9A3CEA7-9164-3E0E-D6B8-8F8F4E67D9D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36591EC-FD7D-AFD5-272F-F340352CA43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83EE09D0-05FA-4BA5-7291-4D4B4B1BDB0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Matte Face Lotion FPS30 50ml (0.1%) | Up &amp; Down Pricing | Walmart | Assumes no other are changing prices</a:t>
            </a:r>
          </a:p>
        </p:txBody>
      </p:sp>
      <p:sp>
        <p:nvSpPr>
          <p:cNvPr id="4" name="Title1">
            <a:extLst>
              <a:ext uri="{FF2B5EF4-FFF2-40B4-BE49-F238E27FC236}">
                <a16:creationId xmlns:a16="http://schemas.microsoft.com/office/drawing/2014/main" id="{3840A100-5A16-5D2A-12CE-3D61E62D9D9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A6100C6-D62A-924F-6A75-019312DB530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A047EB9-F67E-6C2B-7DBA-2B8F52F2F94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F9BBA15-7CAF-9296-2C3F-BD4DCBF7F1D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BE66C6C-B52E-E7A9-1574-BD198D12658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6099E675-3B20-AC08-4919-E00F0EC4B4D4}"/>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4578999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EDE509-6E40-7CA4-4BED-C79DBC19BF5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04087F1-F7FF-347B-DE56-8BD8DB54E47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1328812-1D63-A57B-CD93-E3CDE1935EF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29127B0A-2ECB-6B5D-3270-DEA8B713105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Sensitive Face Lotion FPS50+ 50ml | Walmart | Assuming no other products are changing prices</a:t>
            </a:r>
          </a:p>
        </p:txBody>
      </p:sp>
      <p:sp>
        <p:nvSpPr>
          <p:cNvPr id="10" name="Title 9">
            <a:extLst>
              <a:ext uri="{FF2B5EF4-FFF2-40B4-BE49-F238E27FC236}">
                <a16:creationId xmlns:a16="http://schemas.microsoft.com/office/drawing/2014/main" id="{D7589183-E472-BD35-6E3E-C46AB904A07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DCE518F-F93E-23D9-0AEA-8CB746B2A2F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FB3EBB0-34D1-1C43-3CBB-B8EA63D0C02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70030F2-E52F-6D95-69E9-73F035E062B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ED07854-CAA9-83CA-94BE-9802E413EB6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1B6A43D-72C0-2D9D-FD35-1C93B9740D9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C3DD4FB9-7DA9-9B98-0434-F7FBFFF873FF}"/>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22" name="Rectangle 21">
            <a:extLst>
              <a:ext uri="{FF2B5EF4-FFF2-40B4-BE49-F238E27FC236}">
                <a16:creationId xmlns:a16="http://schemas.microsoft.com/office/drawing/2014/main" id="{09CD0D7D-593A-82A2-833E-24548C7A094B}"/>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18041AA0-EC72-49C1-092C-49870ADC4997}"/>
              </a:ext>
            </a:extLst>
          </p:cNvPr>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12CEBAC0-DC45-084F-71AF-E0B02528F6AA}"/>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96FFD4CE-8BA4-988D-2D8D-82F9B1828BBA}"/>
              </a:ext>
            </a:extLst>
          </p:cNvPr>
          <p:cNvSpPr/>
          <p:nvPr/>
        </p:nvSpPr>
        <p:spPr>
          <a:xfrm>
            <a:off x="3119760" y="1458000"/>
            <a:ext cx="2939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62AD6168-3CFD-4BB9-01E8-DCC43698A4C8}"/>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7673812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8A0DB-C898-0921-A603-F66DE98DE60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912C581-899D-C5FE-CB05-2D12A791D98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Suncare Mineral FPS50 12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4F6E880-E684-6255-D1C0-DCE4B573748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5B4E74E-6E71-B7C8-4172-B25157FAB6C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6F5C168-D0ED-9EBA-4FA4-ADA9E196125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49A87B90-C0FE-2C0F-A7E0-0FEE4B49BA0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Sensitive Face Lotion FPS50+ 50ml (0.2%) | Up &amp; Down Pricing | Walmart | Assumes no other are changing prices</a:t>
            </a:r>
          </a:p>
        </p:txBody>
      </p:sp>
      <p:sp>
        <p:nvSpPr>
          <p:cNvPr id="4" name="Title1">
            <a:extLst>
              <a:ext uri="{FF2B5EF4-FFF2-40B4-BE49-F238E27FC236}">
                <a16:creationId xmlns:a16="http://schemas.microsoft.com/office/drawing/2014/main" id="{ACE4F38B-F361-46B4-0922-6E81790D678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DFB7371-2DD4-33FA-903B-09010BA9707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0D54F9A-4E2B-38AB-53BD-E0E303EE621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BD407D0-30B5-F8DB-1DB0-1EBAD712765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9125020-56C2-1230-D5BD-0CF88BFA18B3}"/>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13854655-F26A-5124-63E7-C05B4DF67D57}"/>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204700245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78358-E2FC-C375-E1CD-FA4A9007C7A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EC07ECE-B54A-5036-57E4-B821CE9066D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338B147-1CF9-577D-A5C1-598CFDB8B10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E3E13022-DC2A-3704-058F-0006330DDE96}"/>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Innovation | Price Elasticity | Walmart | Assumes no other products are changing prices</a:t>
            </a:r>
          </a:p>
        </p:txBody>
      </p:sp>
      <p:sp>
        <p:nvSpPr>
          <p:cNvPr id="18" name="Title 17">
            <a:extLst>
              <a:ext uri="{FF2B5EF4-FFF2-40B4-BE49-F238E27FC236}">
                <a16:creationId xmlns:a16="http://schemas.microsoft.com/office/drawing/2014/main" id="{0413631F-0FC7-D233-6BB0-600419D988F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EEE0C27D-48AE-B3EF-02E0-4388CB3E61E6}"/>
              </a:ext>
            </a:extLst>
          </p:cNvPr>
          <p:cNvGraphicFramePr>
            <a:graphicFrameLocks/>
          </p:cNvGraphicFramePr>
          <p:nvPr/>
        </p:nvGraphicFramePr>
        <p:xfrm>
          <a:off x="4579258" y="1141495"/>
          <a:ext cx="4057904" cy="1178521"/>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Glow Stick FPS50 2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Glow Serum FPS50 3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Pro Age Color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Beautycare Glow Lip Oil FPS5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757C5D89-8345-EBE4-1E5E-380A4A842351}"/>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4E3346D-A848-B2DE-75D9-F4584984E716}"/>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C075A6FD-7223-CCBD-5AED-C6C3662F77B9}"/>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1641CAE4-5C18-0A2B-39BE-8B2C45611F74}"/>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4847632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ED6D1-BA15-EC9E-DDF2-D9829171BDE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10F6FFF-6346-CBC5-717C-FF6BDBBF4D0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5E3074D-146C-FF24-9CAB-DAF8F36089C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FF34527C-171E-39D7-B7F0-267F9B1161F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tick FPS50 20g | Walmart | Assuming no other products are changing prices</a:t>
            </a:r>
          </a:p>
        </p:txBody>
      </p:sp>
      <p:sp>
        <p:nvSpPr>
          <p:cNvPr id="10" name="Title 9">
            <a:extLst>
              <a:ext uri="{FF2B5EF4-FFF2-40B4-BE49-F238E27FC236}">
                <a16:creationId xmlns:a16="http://schemas.microsoft.com/office/drawing/2014/main" id="{5EEFB480-3368-905B-7973-C04478C6A88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96011F9-EA30-819E-1DE7-5CAC949F254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36BD3A4-C9D7-4D53-3140-46FC74199AA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A42EF18-5090-4E24-863D-F90F4343DCD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42513DB-535E-D63C-4786-32AB9C6297B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B7DC2A3-B284-B83B-82A3-315D2AEE4037}"/>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24E19B30-9C54-E82A-B52C-998C53579A07}"/>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22" name="Rectangle 21">
            <a:extLst>
              <a:ext uri="{FF2B5EF4-FFF2-40B4-BE49-F238E27FC236}">
                <a16:creationId xmlns:a16="http://schemas.microsoft.com/office/drawing/2014/main" id="{F0C81588-96B0-0E23-A78E-62A6E19AF037}"/>
              </a:ext>
            </a:extLst>
          </p:cNvPr>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B0D8FBD-E384-F7B2-EA03-BC3EAFC48A09}"/>
              </a:ext>
            </a:extLst>
          </p:cNvPr>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850BCF47-1116-1C80-772F-9C46D18C4D69}"/>
              </a:ext>
            </a:extLst>
          </p:cNvPr>
          <p:cNvSpPr/>
          <p:nvPr/>
        </p:nvSpPr>
        <p:spPr>
          <a:xfrm>
            <a:off x="210240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95700760-FD50-75DD-16C2-AA32681BAB41}"/>
              </a:ext>
            </a:extLst>
          </p:cNvPr>
          <p:cNvSpPr/>
          <p:nvPr/>
        </p:nvSpPr>
        <p:spPr>
          <a:xfrm>
            <a:off x="345888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ECB6A5A7-F3C2-D1CA-95DC-BDD89709A047}"/>
              </a:ext>
            </a:extLst>
          </p:cNvPr>
          <p:cNvSpPr/>
          <p:nvPr/>
        </p:nvSpPr>
        <p:spPr>
          <a:xfrm>
            <a:off x="526752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5502876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6012F-62B1-BD81-1999-6165A202B01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9607553-241C-AF74-80DF-5A9F446450F0}"/>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83C1EDB-8E2C-AF15-631B-106A8B8656A7}"/>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20C1688-7E67-4B50-5970-5378D3F1F6B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EDB8AF1-7DC6-22DF-270F-813BA819092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08935D4-BD14-1A0D-D1FA-8BFFA28A99A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6.3%) | Up &amp; Down Pricing | Walmart | Assumes no other are changing prices</a:t>
            </a:r>
          </a:p>
        </p:txBody>
      </p:sp>
      <p:sp>
        <p:nvSpPr>
          <p:cNvPr id="4" name="Title1">
            <a:extLst>
              <a:ext uri="{FF2B5EF4-FFF2-40B4-BE49-F238E27FC236}">
                <a16:creationId xmlns:a16="http://schemas.microsoft.com/office/drawing/2014/main" id="{5BD6ADFD-C77D-D9F1-8D50-5A09CB1FD55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D033305-5FFB-759A-9C6E-BFDE898B282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A6E7CEB-1442-9FFD-B93C-737A9284CFD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F9EC1466-68FA-C06D-9764-DE2EA9AFBFD3}"/>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DA0B2E74-03C8-43C7-CA30-1B3D70F88449}"/>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60725244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0308B-41F5-886D-A36B-9F334239D35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16FB123-8C8D-7B5A-5B1A-310D755671F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AE34E64-2BE8-0C72-C578-58ED46C18D0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B2D3418-8888-6504-241B-54C354A4AB7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EFC6553-6B38-D392-3273-A6316605CBC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56B118E-8243-C59E-577D-D4888DCC0E9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tick FPS50 20g (0.0%) | Up &amp; Down Pricing | Walmart | Assumes no other are changing prices</a:t>
            </a:r>
          </a:p>
        </p:txBody>
      </p:sp>
      <p:sp>
        <p:nvSpPr>
          <p:cNvPr id="4" name="Title1">
            <a:extLst>
              <a:ext uri="{FF2B5EF4-FFF2-40B4-BE49-F238E27FC236}">
                <a16:creationId xmlns:a16="http://schemas.microsoft.com/office/drawing/2014/main" id="{A9A9FD82-BA42-1117-95D9-40C60B43FEE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04317EB-5F63-E4DF-E667-AFA4A115666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7256D9E-1134-54C0-1395-48C3BD85F24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16DF335-993B-7C9B-FC99-428B32C8296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3542346-54CF-A0C7-34DA-D8399B74285F}"/>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3AEF34BA-74E4-146C-F4A9-089A3CC1468E}"/>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8389297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DAA941-982C-1F7F-FB8A-39C3E9984C7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BD0D16A-BD52-D517-B904-0157CC31EB6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D1750F9-5B9E-599A-C28F-65C81B8E1AB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D7C78C1-97C4-EB59-4470-7114DA3EDAC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erum FPS50 30ml | Walmart | Assuming no other products are changing prices</a:t>
            </a:r>
          </a:p>
        </p:txBody>
      </p:sp>
      <p:sp>
        <p:nvSpPr>
          <p:cNvPr id="10" name="Title 9">
            <a:extLst>
              <a:ext uri="{FF2B5EF4-FFF2-40B4-BE49-F238E27FC236}">
                <a16:creationId xmlns:a16="http://schemas.microsoft.com/office/drawing/2014/main" id="{2AF763E6-9820-BDE4-A236-08AFC1EB6D3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3800B12-064A-0B7B-97B8-7993FD1859F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5D3F038-37B2-E873-A311-EE219730575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DA97CDC-D5E2-67F8-5F73-EDAF5D96AFF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60BDC22-FFAB-3812-7554-4C7EDD9F173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276D7EC-880D-9D49-24D1-AB6BCAADDA31}"/>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C4AF7E9F-8D98-9146-966B-B87B18B189D3}"/>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22" name="Rectangle 21">
            <a:extLst>
              <a:ext uri="{FF2B5EF4-FFF2-40B4-BE49-F238E27FC236}">
                <a16:creationId xmlns:a16="http://schemas.microsoft.com/office/drawing/2014/main" id="{B8F801AC-E716-BD1A-2777-54924ACC12F6}"/>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50693D57-EF3E-70B0-5546-A7C5F08F0BFB}"/>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C77C6946-3A54-B467-2646-EF7DA92BD82A}"/>
              </a:ext>
            </a:extLst>
          </p:cNvPr>
          <p:cNvSpPr/>
          <p:nvPr/>
        </p:nvSpPr>
        <p:spPr>
          <a:xfrm>
            <a:off x="1650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3D9AA96B-FB42-2139-3DD9-8D7D014689CF}"/>
              </a:ext>
            </a:extLst>
          </p:cNvPr>
          <p:cNvSpPr/>
          <p:nvPr/>
        </p:nvSpPr>
        <p:spPr>
          <a:xfrm>
            <a:off x="249804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550B43F9-30B0-C929-AE26-CC4A8B723428}"/>
              </a:ext>
            </a:extLst>
          </p:cNvPr>
          <p:cNvSpPr/>
          <p:nvPr/>
        </p:nvSpPr>
        <p:spPr>
          <a:xfrm>
            <a:off x="31197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5207C77E-F1DD-6D16-F908-C5654AC32ACA}"/>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338331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4CAB4-1D56-7369-83C8-887239CA22D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17BEBDF-4C50-9866-DC54-D471AEF015C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6DC9628-E4FE-D473-1E9F-86EEAF344BF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5D1055D-2815-F59D-084E-5138B6F5B8E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93F5BA9-CD2C-FE42-45E9-CB584374FD5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4D30682-81CE-8055-2997-DC6AB5D6375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erum FPS50 30ml (0.0%) | Up &amp; Down Pricing | Walmart | Assumes no other are changing prices</a:t>
            </a:r>
          </a:p>
        </p:txBody>
      </p:sp>
      <p:sp>
        <p:nvSpPr>
          <p:cNvPr id="4" name="Title1">
            <a:extLst>
              <a:ext uri="{FF2B5EF4-FFF2-40B4-BE49-F238E27FC236}">
                <a16:creationId xmlns:a16="http://schemas.microsoft.com/office/drawing/2014/main" id="{46760382-5637-7E4B-9F9D-A94E7FE620F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D5FAF8D-5AD1-D3F8-6F41-BA8D233BC12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62E4119-3B3F-ECDA-15B9-9DA364F122D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1B2F80B-6ED6-3952-659A-CA271C3E15F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B35BA0B-6890-CBB4-5A68-1920C94270EC}"/>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570B733-1E17-ABCD-6526-80BFC1AB827F}"/>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9036075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488BF-EBCA-29BE-CA60-4CC2B0FB52D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C91FEDB-4607-9992-6018-36813015186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269EBA6-5C41-3E4F-0B50-1C45DB37990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CF3935B-8EB3-D496-1EEC-3D28192EBA6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Pro Age Color Face Fluid FPS50+ 50ml | Walmart | Assuming no other products are changing prices</a:t>
            </a:r>
          </a:p>
        </p:txBody>
      </p:sp>
      <p:sp>
        <p:nvSpPr>
          <p:cNvPr id="10" name="Title 9">
            <a:extLst>
              <a:ext uri="{FF2B5EF4-FFF2-40B4-BE49-F238E27FC236}">
                <a16:creationId xmlns:a16="http://schemas.microsoft.com/office/drawing/2014/main" id="{16CB815E-38EC-38EC-58F8-EC126B52C43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E5A89B8-69D8-F87C-7CEC-C0BD26D3D24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71F7E3D-6F81-E806-943F-C673F060A27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544EADD-99D2-29E6-395B-1F946A60176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3C9E95F-2B46-FFC9-629F-914A3D9FC7C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DF9D637-480D-805B-98D6-C87DC59B0AC9}"/>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341148F9-8781-4FED-8052-AAFF68E1CE3B}"/>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22" name="Rectangle 21">
            <a:extLst>
              <a:ext uri="{FF2B5EF4-FFF2-40B4-BE49-F238E27FC236}">
                <a16:creationId xmlns:a16="http://schemas.microsoft.com/office/drawing/2014/main" id="{284FA8B6-3373-2FA8-702B-FBAC1A126B2F}"/>
              </a:ext>
            </a:extLst>
          </p:cNvPr>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B547CDBD-B292-02A1-8AFA-F883A44E658A}"/>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B6075E90-31B1-A90D-CBA6-64E8C6645958}"/>
              </a:ext>
            </a:extLst>
          </p:cNvPr>
          <p:cNvSpPr/>
          <p:nvPr/>
        </p:nvSpPr>
        <p:spPr>
          <a:xfrm>
            <a:off x="249804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92A797C1-A7FE-F721-79C6-4CA94534A09F}"/>
              </a:ext>
            </a:extLst>
          </p:cNvPr>
          <p:cNvSpPr/>
          <p:nvPr/>
        </p:nvSpPr>
        <p:spPr>
          <a:xfrm>
            <a:off x="5606640" y="1458000"/>
            <a:ext cx="10173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03197913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9554D-9F42-280C-E3E6-3927DEFDF6D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201894F-2256-3AC2-CD44-D609B6A54B2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B5ACF7B-1F32-782F-9837-135025806A8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F866471-8CC2-81CE-BBF1-B8DD88745BE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EE8E3EB-CAD7-4085-2EA2-40E51D20E7C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FD5ABE70-7C5B-444C-CB2B-9B8B3293ED2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Pro Age Color Face Fluid FPS50+ 50ml (0.0%) | Up &amp; Down Pricing | Walmart | Assumes no other are changing prices</a:t>
            </a:r>
          </a:p>
        </p:txBody>
      </p:sp>
      <p:sp>
        <p:nvSpPr>
          <p:cNvPr id="4" name="Title1">
            <a:extLst>
              <a:ext uri="{FF2B5EF4-FFF2-40B4-BE49-F238E27FC236}">
                <a16:creationId xmlns:a16="http://schemas.microsoft.com/office/drawing/2014/main" id="{8B32D367-D3EA-92FF-7A95-0EE47F01FFA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238A614-B6C1-9DFF-852D-BA7231E04AC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3CCF74C-6D99-4E80-8D8B-D4FDFD850E7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9A0A47B-807C-8CCF-1610-5904629B842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C1DC5FE-FA88-58EE-FA24-270DEAD38EAA}"/>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A2476495-BF75-3E58-4D15-C1F19D05CC66}"/>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200870318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D5AE2-3632-0603-FFAB-96F9F6EAEB5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9236C03-FDDA-17AD-A8D4-9AB23E375DA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7DDBCE8-AD9E-7DB4-184C-47BDA28B1C2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FAE03CB6-715E-3CED-AC37-268A45CAC16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Lip Oil FPS50+ 10g | Walmart | Assuming no other products are changing prices</a:t>
            </a:r>
          </a:p>
        </p:txBody>
      </p:sp>
      <p:sp>
        <p:nvSpPr>
          <p:cNvPr id="10" name="Title 9">
            <a:extLst>
              <a:ext uri="{FF2B5EF4-FFF2-40B4-BE49-F238E27FC236}">
                <a16:creationId xmlns:a16="http://schemas.microsoft.com/office/drawing/2014/main" id="{7D010C88-22C6-1F04-17DD-4DE946C58CA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A12E133-372C-5B25-38A3-7EF6A357A24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40BB1FB-B6C9-0F9E-B677-369356E3608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632BC79-AF1F-18D9-80C1-55EDA358BFF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5B41D72-CC40-A3A2-B30F-95DF1175CB2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C9FA2B5-4F56-C611-0E94-A426CCACAA5E}"/>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73EFF0C8-04FB-E5C8-0D00-0FE76C818DA1}"/>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22" name="Rectangle 21">
            <a:extLst>
              <a:ext uri="{FF2B5EF4-FFF2-40B4-BE49-F238E27FC236}">
                <a16:creationId xmlns:a16="http://schemas.microsoft.com/office/drawing/2014/main" id="{F575B1CE-8AAC-65E4-DAFA-8B5B25E2A9B4}"/>
              </a:ext>
            </a:extLst>
          </p:cNvPr>
          <p:cNvSpPr/>
          <p:nvPr/>
        </p:nvSpPr>
        <p:spPr>
          <a:xfrm>
            <a:off x="97200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D053CE90-62D1-59E4-D0A7-48F945A5AE1E}"/>
              </a:ext>
            </a:extLst>
          </p:cNvPr>
          <p:cNvSpPr/>
          <p:nvPr/>
        </p:nvSpPr>
        <p:spPr>
          <a:xfrm>
            <a:off x="255456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6D013BF3-7B9D-6A73-EC7B-874C6170AD17}"/>
              </a:ext>
            </a:extLst>
          </p:cNvPr>
          <p:cNvSpPr/>
          <p:nvPr/>
        </p:nvSpPr>
        <p:spPr>
          <a:xfrm>
            <a:off x="458928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CA7D8BD3-04A5-3D89-83C4-C96BCF15354A}"/>
              </a:ext>
            </a:extLst>
          </p:cNvPr>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28464303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2062E-E745-C394-AD30-A0EC113D5BC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75A8BE1-A2A3-49B3-0424-29ED21714C2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E01A711-1CF7-67F6-9264-6E63C2B4A87D}"/>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603FEF4-8023-7B6D-BFF9-861F497B495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1F8E2E6-1A46-CF5A-410D-664FB0DE13D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A38AF40A-C472-DFA6-0002-E59416FDF5E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Lip Oil FPS50+ 10g (0.0%) | Up &amp; Down Pricing | Walmart | Assumes no other are changing prices</a:t>
            </a:r>
          </a:p>
        </p:txBody>
      </p:sp>
      <p:sp>
        <p:nvSpPr>
          <p:cNvPr id="4" name="Title1">
            <a:extLst>
              <a:ext uri="{FF2B5EF4-FFF2-40B4-BE49-F238E27FC236}">
                <a16:creationId xmlns:a16="http://schemas.microsoft.com/office/drawing/2014/main" id="{0CA6920C-F219-8556-2E3C-E0A2C664173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A248A02-5A8F-667F-A1C3-89A28BFA197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0D53A40-20CF-4225-4EB4-81565C6353B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95EA996-6152-B1B6-44B9-EC857ED1635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2301F2E-F4D9-6D07-F615-FA06017AAAF3}"/>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99B8534D-05C0-5334-94E9-CAFB6B4CE212}"/>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7689086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76344-635F-11F4-E79F-F5150A17A44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4240565-79F0-949C-4424-047456050353}"/>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8555AEA4-5E1B-039A-5CD7-56113E502C4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FFACF3BB-9685-4F41-A36A-8902260EDB14}"/>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Sport | Price Elasticity | Walmart | Assumes no other products are changing prices</a:t>
            </a:r>
          </a:p>
        </p:txBody>
      </p:sp>
      <p:sp>
        <p:nvSpPr>
          <p:cNvPr id="18" name="Title 17">
            <a:extLst>
              <a:ext uri="{FF2B5EF4-FFF2-40B4-BE49-F238E27FC236}">
                <a16:creationId xmlns:a16="http://schemas.microsoft.com/office/drawing/2014/main" id="{6112E9C0-4855-1054-3793-07DB6DB4B80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B4E32BD3-FBA1-8F49-A9D9-F7FC5B7D19CA}"/>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Lotion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0A928C8-7DD7-5ACB-BAB3-A77CA65739E8}"/>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8D3AE45-04B3-A032-5D3A-D8B2114A16F0}"/>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99E056B3-C854-6976-9F72-61EEA84ABE5D}"/>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B4547B13-E35B-A72B-964C-7FCA66469C67}"/>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023950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6CC21E-4D67-FCF4-22F2-F5AAD22CD5E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CE33399-D75D-6F69-4568-15F87201DE7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8542764-CA63-AF38-683D-984272E55B3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E80FCDB8-ECB0-B95D-BBC7-2D1AD01A7E8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Lotion FPS50+ 236ml | Walmart | Assuming no other products are changing prices</a:t>
            </a:r>
          </a:p>
        </p:txBody>
      </p:sp>
      <p:sp>
        <p:nvSpPr>
          <p:cNvPr id="10" name="Title 9">
            <a:extLst>
              <a:ext uri="{FF2B5EF4-FFF2-40B4-BE49-F238E27FC236}">
                <a16:creationId xmlns:a16="http://schemas.microsoft.com/office/drawing/2014/main" id="{0B9B8C40-2BF9-DFE0-E7D2-36394CDB067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7779067-9AD6-D390-2475-57B1E2560BA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34B7226-8DAD-7312-ABA5-665BDF56D05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08DF7D6-94C6-36C2-A28C-5F9DE53FB6B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6D9362F-C5E6-D21F-B845-9BE0B1E8017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8089B9B-9D14-5FAD-E0B6-F5C4AB4BC905}"/>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8E92910A-B958-E45E-1691-3B3086509AB0}"/>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22" name="Rectangle 21">
            <a:extLst>
              <a:ext uri="{FF2B5EF4-FFF2-40B4-BE49-F238E27FC236}">
                <a16:creationId xmlns:a16="http://schemas.microsoft.com/office/drawing/2014/main" id="{311107B0-C7DF-E116-324B-75B7AE17F764}"/>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CFCBE54-6A7D-59F9-8BB2-B3C370DF6616}"/>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4659885E-C2C9-2464-DB53-85E55AE2131E}"/>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3B388F03-AD05-7DBA-88AB-07B6CF742C58}"/>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8658BE17-87E8-8C6E-4F29-06C3D43966BB}"/>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BFF41D59-3D06-DBCE-FB74-14C747C474C0}"/>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F4A9FBBE-674E-9033-EFC2-905D7C85F315}"/>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a:extLst>
              <a:ext uri="{FF2B5EF4-FFF2-40B4-BE49-F238E27FC236}">
                <a16:creationId xmlns:a16="http://schemas.microsoft.com/office/drawing/2014/main" id="{0D2D10A8-305F-7EB7-A7AA-6B90C7C3A14E}"/>
              </a:ext>
            </a:extLst>
          </p:cNvPr>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a:extLst>
              <a:ext uri="{FF2B5EF4-FFF2-40B4-BE49-F238E27FC236}">
                <a16:creationId xmlns:a16="http://schemas.microsoft.com/office/drawing/2014/main" id="{DF8C6E8F-4660-EB3A-3820-8E7CD402B4D8}"/>
              </a:ext>
            </a:extLst>
          </p:cNvPr>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3682440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B89BF-2DDF-27EE-5C9D-4FC6EB10012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A8D22B3-0DEA-C44F-7271-C3F539932F3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DC23A14-7677-D2F2-D3A8-0CA9B95B5CD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68844AC-B9A3-407B-3DF4-85AD91A1D2F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06AF78A-C5F1-3AC8-AC72-E8595FB8D1A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4AAABF8-9167-C307-7CD6-CBDD8565FE3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Lotion FPS50+ 236ml (3.1%) | Up &amp; Down Pricing | Walmart | Assumes no other are changing prices</a:t>
            </a:r>
          </a:p>
        </p:txBody>
      </p:sp>
      <p:sp>
        <p:nvSpPr>
          <p:cNvPr id="4" name="Title1">
            <a:extLst>
              <a:ext uri="{FF2B5EF4-FFF2-40B4-BE49-F238E27FC236}">
                <a16:creationId xmlns:a16="http://schemas.microsoft.com/office/drawing/2014/main" id="{D69F8AAF-AA56-769C-C2AE-A0033108840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170531D-D6DC-B1BC-022F-E4756608D2A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94540D2-FC84-990E-555E-6B297D09156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6D2CD4C-C0A8-14FF-1E45-DFF546964D6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BB03934-D4E2-F187-D011-E63CD6327FE1}"/>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E4333B4E-059A-52A3-E4FF-16191D6048A7}"/>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216622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23610-35BB-D16B-5FF0-24F9A51B77A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2389AA7-E3B0-330D-9A68-EB19CB0E54F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2BB2F4F-4A83-8ABD-5586-BB7E9BB67068}"/>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3B35034-0348-CEEB-9A8C-F7FB3A57106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08FEF0B-CB6B-EDFA-C5B9-25B31FEEDF4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5400A53-2970-7274-6EBD-F74A3A4C1ED5}"/>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vea (38.0%) | Up &amp; Down Pricing | Walmart | Assumes no other are changing prices</a:t>
            </a:r>
          </a:p>
        </p:txBody>
      </p:sp>
      <p:sp>
        <p:nvSpPr>
          <p:cNvPr id="4" name="Title1">
            <a:extLst>
              <a:ext uri="{FF2B5EF4-FFF2-40B4-BE49-F238E27FC236}">
                <a16:creationId xmlns:a16="http://schemas.microsoft.com/office/drawing/2014/main" id="{321A9342-91AE-C596-D8E2-1F95308C730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075D99D-E77D-0728-79BE-3276A1C758E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C8D012E-7C2E-57C0-2B28-53E5A6C7B96B}"/>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3CE44E2F-5730-40D1-0EBF-1ED7524F79AB}"/>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C034ACFD-31E2-8E57-7269-8B9303EA742C}"/>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55708163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E91E9-B6BA-8FBD-F77B-3E6D02BFC33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06FAC3B-BDC1-7674-FE97-2D892611A71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65B8038-97F8-85B7-5D9B-6CD7E5C10BE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7AAD61FB-D8FF-3240-2FB6-4DEDDE8C87D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170g | Walmart | Assuming no other products are changing prices</a:t>
            </a:r>
          </a:p>
        </p:txBody>
      </p:sp>
      <p:sp>
        <p:nvSpPr>
          <p:cNvPr id="10" name="Title 9">
            <a:extLst>
              <a:ext uri="{FF2B5EF4-FFF2-40B4-BE49-F238E27FC236}">
                <a16:creationId xmlns:a16="http://schemas.microsoft.com/office/drawing/2014/main" id="{08B272F7-5B8B-6DC1-7683-6861EA54980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22BB59B-10A1-F5BC-FE00-D93872879D1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67B8E35-005E-F562-42E1-C102ADF0DBB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923B081-D8FF-8CD8-EE75-E618BB95C7E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9D4B10E-D9F9-0EB3-E3FD-29E7DB19BFA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0A18201-1BA4-9CB7-C24F-3723A28E38A7}"/>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EB08C23-B327-0C0E-BD38-8EC4173A66BF}"/>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22" name="Rectangle 21">
            <a:extLst>
              <a:ext uri="{FF2B5EF4-FFF2-40B4-BE49-F238E27FC236}">
                <a16:creationId xmlns:a16="http://schemas.microsoft.com/office/drawing/2014/main" id="{4954BB22-C3D9-16E5-A841-627EF28DCA11}"/>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4D914147-1CD4-654F-E1A6-BB2F18FDFBF6}"/>
              </a:ext>
            </a:extLst>
          </p:cNvPr>
          <p:cNvSpPr/>
          <p:nvPr/>
        </p:nvSpPr>
        <p:spPr>
          <a:xfrm>
            <a:off x="249804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41BC707B-9E8E-04E0-3788-B3398EF57C88}"/>
              </a:ext>
            </a:extLst>
          </p:cNvPr>
          <p:cNvSpPr/>
          <p:nvPr/>
        </p:nvSpPr>
        <p:spPr>
          <a:xfrm>
            <a:off x="311976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CF5465A0-7328-7F09-0E75-73FF57533BC6}"/>
              </a:ext>
            </a:extLst>
          </p:cNvPr>
          <p:cNvSpPr/>
          <p:nvPr/>
        </p:nvSpPr>
        <p:spPr>
          <a:xfrm>
            <a:off x="509796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38623374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1EDEA-204F-6DA9-498D-8184C4176AE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1C33076-F5DF-AA28-858A-BD9C89F43FF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A362B1D-FEE4-5821-E4B7-8B72BDDB1B2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7618E07-FA03-9A80-99B4-171053BD755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DCB2026-7B2A-D368-EB8B-34A5028517F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40D97C1-5F63-7004-C326-7C702D486DA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170g (0.5%) | Up &amp; Down Pricing | Walmart | Assumes no other are changing prices</a:t>
            </a:r>
          </a:p>
        </p:txBody>
      </p:sp>
      <p:sp>
        <p:nvSpPr>
          <p:cNvPr id="4" name="Title1">
            <a:extLst>
              <a:ext uri="{FF2B5EF4-FFF2-40B4-BE49-F238E27FC236}">
                <a16:creationId xmlns:a16="http://schemas.microsoft.com/office/drawing/2014/main" id="{6BF098F4-E18B-4EF6-FC06-633BA9FA615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4E4B20B-9523-8C9D-ACE8-9F6947753B9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F2CDBB9-8CE6-9567-E2F5-80558FE28D4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55E13DD-4D4D-9388-A68A-28FBD5068A6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3EA5082-2DCB-9032-301E-CE85E2805CBA}"/>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6E43301D-E865-FD28-F59C-30B9D9B36E3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70110720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6649B-0F27-467D-8114-776A51D97A9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AD9C098-3471-AFFD-5C35-0263FB6716E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978C65F-C45C-5940-2C17-3BCADC1B2AE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4FCA0CC4-1D7A-CC8A-2AC2-06E33F39A4A0}"/>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Innovation | Price Elasticity | Walmart | Assumes no other products are changing prices</a:t>
            </a:r>
          </a:p>
        </p:txBody>
      </p:sp>
      <p:sp>
        <p:nvSpPr>
          <p:cNvPr id="18" name="Title 17">
            <a:extLst>
              <a:ext uri="{FF2B5EF4-FFF2-40B4-BE49-F238E27FC236}">
                <a16:creationId xmlns:a16="http://schemas.microsoft.com/office/drawing/2014/main" id="{C99F7050-AE30-3172-481B-D0820C7E080B}"/>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0279E7B5-863D-2A0C-4019-E1F58DBF4B2F}"/>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FD41A62-5317-DE98-DC00-495567C51D9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2E6BEA9-567E-AE64-69C6-7355AF198799}"/>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CA8EAD82-058B-C047-0939-C0C63AAAEF81}"/>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3" name="TextBox Y">
            <a:extLst>
              <a:ext uri="{FF2B5EF4-FFF2-40B4-BE49-F238E27FC236}">
                <a16:creationId xmlns:a16="http://schemas.microsoft.com/office/drawing/2014/main" id="{7BB388DD-AEBF-8593-DE5D-73A9CF83B26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171058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9A4C7-A593-F4AE-BAEB-D2F19D22E1E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80A716D-A032-E58E-E100-A8445831098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09AA579-9B73-11B5-FA3D-71BAD793F56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CA9BF689-BDA8-FDF3-BC0B-2B7F94A46BB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240ml | Walmart | Assuming no other products are changing prices</a:t>
            </a:r>
          </a:p>
        </p:txBody>
      </p:sp>
      <p:sp>
        <p:nvSpPr>
          <p:cNvPr id="10" name="Title 9">
            <a:extLst>
              <a:ext uri="{FF2B5EF4-FFF2-40B4-BE49-F238E27FC236}">
                <a16:creationId xmlns:a16="http://schemas.microsoft.com/office/drawing/2014/main" id="{EFD741DD-4787-3405-75D7-7444C2E2C1A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1C1FCC4-8075-72A2-FE1F-246D0811A8A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B2DC042-07BB-5F40-D696-725AA8EA31F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594C2CD-1C93-3FD9-DC04-2618AADC60E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1C446B7-8C51-EFE4-B1B9-2C3130E4EF7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189AAFE-0CD7-A944-0FC1-077F176E8D2B}"/>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B017E49F-CEA3-1F59-F3B5-ED85CC8DE5AE}"/>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a:extLst>
              <a:ext uri="{FF2B5EF4-FFF2-40B4-BE49-F238E27FC236}">
                <a16:creationId xmlns:a16="http://schemas.microsoft.com/office/drawing/2014/main" id="{6F1C9429-8C65-185C-D3D4-EE655F149FC5}"/>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6D02CC2B-3B69-C6AB-A1FE-0C21AA5C0CDC}"/>
              </a:ext>
            </a:extLst>
          </p:cNvPr>
          <p:cNvSpPr/>
          <p:nvPr/>
        </p:nvSpPr>
        <p:spPr>
          <a:xfrm>
            <a:off x="119808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67B1A2F2-6835-F7D1-C59D-4A27B4D520B3}"/>
              </a:ext>
            </a:extLst>
          </p:cNvPr>
          <p:cNvSpPr/>
          <p:nvPr/>
        </p:nvSpPr>
        <p:spPr>
          <a:xfrm>
            <a:off x="2158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FE35906B-4D4D-3C2C-457B-E65A83DC6F7B}"/>
              </a:ext>
            </a:extLst>
          </p:cNvPr>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90A4AF52-C143-9F39-42EF-123CC670C2D2}"/>
              </a:ext>
            </a:extLst>
          </p:cNvPr>
          <p:cNvSpPr/>
          <p:nvPr/>
        </p:nvSpPr>
        <p:spPr>
          <a:xfrm>
            <a:off x="44762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205438B3-A779-5E05-FE2A-C41EE2BE2E66}"/>
              </a:ext>
            </a:extLst>
          </p:cNvPr>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99100956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0E943-BEA3-3C34-DDD5-786C713963A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E26C422-E8FE-4103-9E65-30E6E2394A3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5271169-10BB-C619-69F1-27163B9D9A7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E797AD7-FFCD-2B6C-08F7-4853CF9E28E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8324E9F-C986-1BD4-7F7A-131B856AAA6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4029A90D-A0F9-9D53-1455-C0EF58E6D37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240ml (0.0%) | Up &amp; Down Pricing | Walmart | Assumes no other are changing prices</a:t>
            </a:r>
          </a:p>
        </p:txBody>
      </p:sp>
      <p:sp>
        <p:nvSpPr>
          <p:cNvPr id="4" name="Title1">
            <a:extLst>
              <a:ext uri="{FF2B5EF4-FFF2-40B4-BE49-F238E27FC236}">
                <a16:creationId xmlns:a16="http://schemas.microsoft.com/office/drawing/2014/main" id="{949DDC2A-96FA-BACA-D19D-08627E6C3C7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E55E31D-E2B5-7DF4-A8D1-4DD94674FE0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128A85E-3BD5-F8E3-EE66-D3DD06903E8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4945A20-4490-9AE0-2D76-0D22F5BBA6C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CEB7D81-F6FF-BFEA-7663-587AF3B18F57}"/>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102F94AA-A643-A06D-6698-F0F9AFAECE8E}"/>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26937600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22406-6D69-2988-BE9B-D1D878B16BA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0DFA1D7-81B4-2248-647D-2399FB444F4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79237BB-12CA-DD5F-EB6E-229F16F5429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47E4AB7-E587-FA38-F81F-56DCC257EBB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 Price Elasticity | Walmart | Assumes no other products are changing prices</a:t>
            </a:r>
          </a:p>
        </p:txBody>
      </p:sp>
      <p:sp>
        <p:nvSpPr>
          <p:cNvPr id="18" name="Title 17">
            <a:extLst>
              <a:ext uri="{FF2B5EF4-FFF2-40B4-BE49-F238E27FC236}">
                <a16:creationId xmlns:a16="http://schemas.microsoft.com/office/drawing/2014/main" id="{36F0B338-FBF0-27A1-E89A-9C8F6AB462A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BD6F969F-688E-5018-CA95-2298A2361D06}"/>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AAC82BE-8163-B6A4-57DF-6AEDCE63162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704411D-F3AD-BA6E-3187-9135B422A5A4}"/>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5047A638-459A-FC23-C915-7B79F81C3CB3}"/>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3" name="TextBox Y">
            <a:extLst>
              <a:ext uri="{FF2B5EF4-FFF2-40B4-BE49-F238E27FC236}">
                <a16:creationId xmlns:a16="http://schemas.microsoft.com/office/drawing/2014/main" id="{CEB15A8C-717A-13BA-0642-212953622DA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7739253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C2D5B-5A7E-49C0-F791-4B69E800251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F1EA7D7-9EC8-C501-2BA3-2E1DBB71E32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55A7A29-E2F7-C05B-7E50-4D6AD772154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54A00535-1EF0-D5C2-0734-07355D158EC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ray FPS50+ 170g | Walmart | Assuming no other products are changing prices</a:t>
            </a:r>
          </a:p>
        </p:txBody>
      </p:sp>
      <p:sp>
        <p:nvSpPr>
          <p:cNvPr id="10" name="Title 9">
            <a:extLst>
              <a:ext uri="{FF2B5EF4-FFF2-40B4-BE49-F238E27FC236}">
                <a16:creationId xmlns:a16="http://schemas.microsoft.com/office/drawing/2014/main" id="{BD6EF12F-D8CA-A1E9-EE02-B8B1D1A98BC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46B9853-D859-B74E-FB6E-53DA7F6D7B4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16A9179-D917-31A7-CF56-2E064743800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09655DF-0EFA-5E7D-BBE3-E698DC34DE7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C1D3804-C1D0-DF9C-44B3-EBE97515F36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91193BB-4E53-9644-4AC0-617CB2212CDF}"/>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755EB445-B7AF-1CD3-2CEB-EB1612FF0368}"/>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a:extLst>
              <a:ext uri="{FF2B5EF4-FFF2-40B4-BE49-F238E27FC236}">
                <a16:creationId xmlns:a16="http://schemas.microsoft.com/office/drawing/2014/main" id="{81867970-0962-5902-7B95-70DB072478A7}"/>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94605A77-9655-AB8A-A833-9D1912ECE0F0}"/>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4D428FB4-3BAF-3703-3FA0-D08D12CA2FC6}"/>
              </a:ext>
            </a:extLst>
          </p:cNvPr>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5F023554-A480-7196-87CF-6FD6D5F2AC7D}"/>
              </a:ext>
            </a:extLst>
          </p:cNvPr>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81C2D66D-1A51-8668-2484-8921A40050FB}"/>
              </a:ext>
            </a:extLst>
          </p:cNvPr>
          <p:cNvSpPr/>
          <p:nvPr/>
        </p:nvSpPr>
        <p:spPr>
          <a:xfrm>
            <a:off x="464580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A742F54E-FA71-FA89-EB46-2ACF6984B594}"/>
              </a:ext>
            </a:extLst>
          </p:cNvPr>
          <p:cNvSpPr/>
          <p:nvPr/>
        </p:nvSpPr>
        <p:spPr>
          <a:xfrm>
            <a:off x="509796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67014551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469ED-B04A-E868-2BA6-EDE3BB15A6A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5AADDC8-85DD-76EF-11B3-9010FA0EBE2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3D0ED23-29A3-E853-33F8-12EE0DA617A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607241B-24FC-53A8-8642-721142D5AB3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80D6A0F-F4F2-FFB8-B618-46EE7D789A6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08D6D3D-B604-79BF-0DFE-BB8622C5898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ray FPS50+ 170g (0.7%) | Up &amp; Down Pricing | Walmart | Assumes no other are changing prices</a:t>
            </a:r>
          </a:p>
        </p:txBody>
      </p:sp>
      <p:sp>
        <p:nvSpPr>
          <p:cNvPr id="4" name="Title1">
            <a:extLst>
              <a:ext uri="{FF2B5EF4-FFF2-40B4-BE49-F238E27FC236}">
                <a16:creationId xmlns:a16="http://schemas.microsoft.com/office/drawing/2014/main" id="{B0046AD6-F0DD-DB49-696B-6F49AC267D1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2F57663-7B70-0AA0-DAC2-C12FD7324C3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9B932FE-8BE1-CC7F-FFC3-790062FDAF4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DC8709-ECD0-B2B2-4BC5-E2BF59B011D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784E304-D6C8-D95C-F235-12C18C21BF8B}"/>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83024C9-1739-7C22-370F-341CBFBD79A9}"/>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08763108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5E9BC1-67CD-0463-85D5-AEE3AFD954B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483B6F8-641C-E4AF-8C95-67ADBDE1B25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C70D794-4D1A-C8DF-FC56-D2EE75E27D7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5FD7A8D-8353-EAE1-EA09-D75F60FCC39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Cream FPS50+ 236ml | Walmart | Assuming no other products are changing prices</a:t>
            </a:r>
          </a:p>
        </p:txBody>
      </p:sp>
      <p:sp>
        <p:nvSpPr>
          <p:cNvPr id="10" name="Title 9">
            <a:extLst>
              <a:ext uri="{FF2B5EF4-FFF2-40B4-BE49-F238E27FC236}">
                <a16:creationId xmlns:a16="http://schemas.microsoft.com/office/drawing/2014/main" id="{E909B4F7-98AE-F46B-FDE8-B482ABA1BC1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A8C286A-C4FF-7F18-9ADC-D2503D2322E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77F3842-62EC-5590-2E07-C7A80AB3823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E34E455-265C-99D4-6FA0-8C6CBDA542F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128478E-1C5D-AB75-C24F-FC7C1BE33BB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40B7C33-4BFF-2478-2C43-AD4505D7D957}"/>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08EA3E60-36D1-8F85-BBE4-D6CDCDD67E01}"/>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a:extLst>
              <a:ext uri="{FF2B5EF4-FFF2-40B4-BE49-F238E27FC236}">
                <a16:creationId xmlns:a16="http://schemas.microsoft.com/office/drawing/2014/main" id="{D09C206D-A874-BC03-3D57-F58F8B33DB2E}"/>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8846A577-E942-BA60-5F05-85C6CE0164B5}"/>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3E0D06D1-869B-84B0-770E-66BE98104E9E}"/>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463DB785-1B31-3B2C-6435-BF4043459C75}"/>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152FDFCD-C90A-9A21-43B7-912373279D55}"/>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5AB74EA6-98B2-D8AF-B72E-F2307B8D5E05}"/>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1D9728DD-8273-FCB5-DFA9-491B33BF1E95}"/>
              </a:ext>
            </a:extLst>
          </p:cNvPr>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19843557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6CF17-F21F-A3F8-0FD6-5C8B929EDCF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4DC8017-2E2D-D050-C571-DE9885C7DA4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A222ED4-3C9C-2875-7235-0D73098673F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DFB82C3-AC6D-CFC5-B8E6-3D44638084D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9EEA805-572A-5E0A-488F-6910E2296BA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D1155BD7-E9F9-0B7B-A087-84EA0836A53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Cream FPS50+ 236ml (2.7%) | Up &amp; Down Pricing | Walmart | Assumes no other are changing prices</a:t>
            </a:r>
          </a:p>
        </p:txBody>
      </p:sp>
      <p:sp>
        <p:nvSpPr>
          <p:cNvPr id="4" name="Title1">
            <a:extLst>
              <a:ext uri="{FF2B5EF4-FFF2-40B4-BE49-F238E27FC236}">
                <a16:creationId xmlns:a16="http://schemas.microsoft.com/office/drawing/2014/main" id="{5A3C6EA4-8D18-FE6E-2F57-9F968C195C4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5CD27CD-DAA4-28BE-A606-68BB328D530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BDC26EF-1753-7243-66FD-13BADC2B215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284FBBC-91C7-2897-02D4-21D1E0F83BB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596B12F-7A70-639D-279D-AE3E84074307}"/>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D0F49515-E066-94E3-5333-27238B4F4A4D}"/>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9154956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5972</Words>
  <Application>Microsoft Office PowerPoint</Application>
  <PresentationFormat>On-screen Show (16:9)</PresentationFormat>
  <Paragraphs>5926</Paragraphs>
  <Slides>144</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6" baseType="lpstr">
      <vt:lpstr>Aptos</vt:lpstr>
      <vt:lpstr>Arial</vt:lpstr>
      <vt:lpstr>Cambria Math</vt:lpstr>
      <vt:lpstr>Nexa</vt:lpstr>
      <vt:lpstr>Nexa Bold</vt:lpstr>
      <vt:lpstr>Nexa Book</vt:lpstr>
      <vt:lpstr>Nexa Book (Body)</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SE Slide (Replace with So What)</vt:lpstr>
      <vt:lpstr>SE Slide (Replace with So What)</vt:lpstr>
      <vt:lpstr>SE Slide (Replace with So What)</vt:lpstr>
      <vt:lpstr>SE Slide (Replace with So What)</vt:lpstr>
      <vt:lpstr>SE Slide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7</cp:revision>
  <dcterms:created xsi:type="dcterms:W3CDTF">2024-07-08T12:09:12Z</dcterms:created>
  <dcterms:modified xsi:type="dcterms:W3CDTF">2025-07-25T07:2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